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33" r:id="rId4"/>
  </p:sldMasterIdLst>
  <p:notesMasterIdLst>
    <p:notesMasterId r:id="rId11"/>
  </p:notesMasterIdLst>
  <p:handoutMasterIdLst>
    <p:handoutMasterId r:id="rId12"/>
  </p:handoutMasterIdLst>
  <p:sldIdLst>
    <p:sldId id="256" r:id="rId5"/>
    <p:sldId id="257" r:id="rId6"/>
    <p:sldId id="259" r:id="rId7"/>
    <p:sldId id="258" r:id="rId8"/>
    <p:sldId id="261" r:id="rId9"/>
    <p:sldId id="262" r:id="rId1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4F4F4"/>
    <a:srgbClr val="DA291C"/>
    <a:srgbClr val="959CA0"/>
    <a:srgbClr val="FE8A12"/>
    <a:srgbClr val="F4C65A"/>
    <a:srgbClr val="FFE2C4"/>
    <a:srgbClr val="FEC488"/>
    <a:srgbClr val="7FD1EF"/>
    <a:srgbClr val="A1D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25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4984" y="70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/13/2025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/1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5699651" y="8780243"/>
            <a:ext cx="927049" cy="251346"/>
          </a:xfrm>
          <a:prstGeom prst="rect">
            <a:avLst/>
          </a:prstGeom>
        </p:spPr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B76970-59B0-02CE-F0CF-5DF2129D58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5000">
                <a:srgbClr val="140B42"/>
              </a:gs>
              <a:gs pos="80000">
                <a:srgbClr val="005587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486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486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</a:t>
            </a:r>
            <a:br>
              <a:rPr lang="en-US" dirty="0"/>
            </a:br>
            <a:r>
              <a:rPr lang="en-US" dirty="0"/>
              <a:t>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486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16200000">
            <a:off x="10172703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16200000">
            <a:off x="10741443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16200000">
            <a:off x="7833691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EC8515-986E-A47F-4BDA-CED96BF08D65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16200000">
            <a:off x="9058253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25B28D-E9A6-1255-B443-7613304201B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3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4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493F902-AAD1-8100-DE89-9A4C865E166B}"/>
              </a:ext>
            </a:extLst>
          </p:cNvPr>
          <p:cNvSpPr/>
          <p:nvPr userDrawn="1"/>
        </p:nvSpPr>
        <p:spPr>
          <a:xfrm rot="2700000">
            <a:off x="9798166" y="-906004"/>
            <a:ext cx="1193902" cy="4301542"/>
          </a:xfrm>
          <a:custGeom>
            <a:avLst/>
            <a:gdLst>
              <a:gd name="connsiteX0" fmla="*/ 0 w 1193902"/>
              <a:gd name="connsiteY0" fmla="*/ 987355 h 4301542"/>
              <a:gd name="connsiteX1" fmla="*/ 987355 w 1193902"/>
              <a:gd name="connsiteY1" fmla="*/ 0 h 4301542"/>
              <a:gd name="connsiteX2" fmla="*/ 1193902 w 1193902"/>
              <a:gd name="connsiteY2" fmla="*/ 206546 h 4301542"/>
              <a:gd name="connsiteX3" fmla="*/ 1193901 w 1193902"/>
              <a:gd name="connsiteY3" fmla="*/ 3704591 h 4301542"/>
              <a:gd name="connsiteX4" fmla="*/ 596950 w 1193902"/>
              <a:gd name="connsiteY4" fmla="*/ 4301542 h 4301542"/>
              <a:gd name="connsiteX5" fmla="*/ 596951 w 1193902"/>
              <a:gd name="connsiteY5" fmla="*/ 4301541 h 4301542"/>
              <a:gd name="connsiteX6" fmla="*/ 0 w 1193902"/>
              <a:gd name="connsiteY6" fmla="*/ 370459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  <a:gd name="connsiteX7" fmla="*/ 1078795 w 1193902"/>
              <a:gd name="connsiteY7" fmla="*/ 91440 h 4301542"/>
              <a:gd name="connsiteX0" fmla="*/ 987355 w 1193902"/>
              <a:gd name="connsiteY0" fmla="*/ 0 h 4301542"/>
              <a:gd name="connsiteX1" fmla="*/ 1193902 w 1193902"/>
              <a:gd name="connsiteY1" fmla="*/ 206546 h 4301542"/>
              <a:gd name="connsiteX2" fmla="*/ 1193901 w 1193902"/>
              <a:gd name="connsiteY2" fmla="*/ 3704591 h 4301542"/>
              <a:gd name="connsiteX3" fmla="*/ 596950 w 1193902"/>
              <a:gd name="connsiteY3" fmla="*/ 4301542 h 4301542"/>
              <a:gd name="connsiteX4" fmla="*/ 596951 w 1193902"/>
              <a:gd name="connsiteY4" fmla="*/ 4301541 h 4301542"/>
              <a:gd name="connsiteX5" fmla="*/ 0 w 1193902"/>
              <a:gd name="connsiteY5" fmla="*/ 3704590 h 4301542"/>
              <a:gd name="connsiteX6" fmla="*/ 0 w 1193902"/>
              <a:gd name="connsiteY6" fmla="*/ 987355 h 430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3902" h="4301542">
                <a:moveTo>
                  <a:pt x="987355" y="0"/>
                </a:moveTo>
                <a:lnTo>
                  <a:pt x="1193902" y="206546"/>
                </a:lnTo>
                <a:cubicBezTo>
                  <a:pt x="1193902" y="1372561"/>
                  <a:pt x="1193901" y="2538576"/>
                  <a:pt x="1193901" y="3704591"/>
                </a:cubicBezTo>
                <a:cubicBezTo>
                  <a:pt x="1193901" y="4034278"/>
                  <a:pt x="926637" y="4301542"/>
                  <a:pt x="596950" y="4301542"/>
                </a:cubicBezTo>
                <a:lnTo>
                  <a:pt x="596951" y="4301541"/>
                </a:lnTo>
                <a:cubicBezTo>
                  <a:pt x="267264" y="4301541"/>
                  <a:pt x="0" y="4034277"/>
                  <a:pt x="0" y="3704590"/>
                </a:cubicBezTo>
                <a:lnTo>
                  <a:pt x="0" y="987355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FC2DBB2-A181-4E29-6CCA-A8F30AC33C44}"/>
              </a:ext>
            </a:extLst>
          </p:cNvPr>
          <p:cNvSpPr/>
          <p:nvPr userDrawn="1"/>
        </p:nvSpPr>
        <p:spPr>
          <a:xfrm rot="2700000">
            <a:off x="11019741" y="1955164"/>
            <a:ext cx="825711" cy="2790751"/>
          </a:xfrm>
          <a:custGeom>
            <a:avLst/>
            <a:gdLst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0" fmla="*/ 0 w 825711"/>
              <a:gd name="connsiteY0" fmla="*/ 0 h 2882191"/>
              <a:gd name="connsiteX1" fmla="*/ 825711 w 825711"/>
              <a:gd name="connsiteY1" fmla="*/ 825711 h 2882191"/>
              <a:gd name="connsiteX2" fmla="*/ 825711 w 825711"/>
              <a:gd name="connsiteY2" fmla="*/ 2469335 h 2882191"/>
              <a:gd name="connsiteX3" fmla="*/ 412855 w 825711"/>
              <a:gd name="connsiteY3" fmla="*/ 2882191 h 2882191"/>
              <a:gd name="connsiteX4" fmla="*/ 412856 w 825711"/>
              <a:gd name="connsiteY4" fmla="*/ 2882190 h 2882191"/>
              <a:gd name="connsiteX5" fmla="*/ 0 w 825711"/>
              <a:gd name="connsiteY5" fmla="*/ 2469334 h 2882191"/>
              <a:gd name="connsiteX6" fmla="*/ 91440 w 825711"/>
              <a:gd name="connsiteY6" fmla="*/ 91440 h 2882191"/>
              <a:gd name="connsiteX0" fmla="*/ 825711 w 825711"/>
              <a:gd name="connsiteY0" fmla="*/ 734271 h 2790751"/>
              <a:gd name="connsiteX1" fmla="*/ 825711 w 825711"/>
              <a:gd name="connsiteY1" fmla="*/ 2377895 h 2790751"/>
              <a:gd name="connsiteX2" fmla="*/ 412855 w 825711"/>
              <a:gd name="connsiteY2" fmla="*/ 2790751 h 2790751"/>
              <a:gd name="connsiteX3" fmla="*/ 412856 w 825711"/>
              <a:gd name="connsiteY3" fmla="*/ 2790750 h 2790751"/>
              <a:gd name="connsiteX4" fmla="*/ 0 w 825711"/>
              <a:gd name="connsiteY4" fmla="*/ 2377894 h 2790751"/>
              <a:gd name="connsiteX5" fmla="*/ 91440 w 825711"/>
              <a:gd name="connsiteY5" fmla="*/ 0 h 279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2790751">
                <a:moveTo>
                  <a:pt x="825711" y="734271"/>
                </a:moveTo>
                <a:lnTo>
                  <a:pt x="825711" y="2377895"/>
                </a:lnTo>
                <a:cubicBezTo>
                  <a:pt x="825711" y="2605909"/>
                  <a:pt x="640869" y="2790751"/>
                  <a:pt x="412855" y="2790751"/>
                </a:cubicBezTo>
                <a:lnTo>
                  <a:pt x="412856" y="2790750"/>
                </a:lnTo>
                <a:cubicBezTo>
                  <a:pt x="184842" y="2790750"/>
                  <a:pt x="0" y="2605908"/>
                  <a:pt x="0" y="2377894"/>
                </a:cubicBezTo>
                <a:cubicBezTo>
                  <a:pt x="0" y="1554783"/>
                  <a:pt x="91440" y="0"/>
                  <a:pt x="91440" y="0"/>
                </a:cubicBez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C722F8-9A5C-19E5-0242-1E41CA5B41E8}"/>
              </a:ext>
            </a:extLst>
          </p:cNvPr>
          <p:cNvSpPr/>
          <p:nvPr userDrawn="1"/>
        </p:nvSpPr>
        <p:spPr>
          <a:xfrm rot="2700000">
            <a:off x="10059962" y="-488825"/>
            <a:ext cx="1032256" cy="5442037"/>
          </a:xfrm>
          <a:custGeom>
            <a:avLst/>
            <a:gdLst>
              <a:gd name="connsiteX0" fmla="*/ 0 w 1032256"/>
              <a:gd name="connsiteY0" fmla="*/ 80350 h 5442037"/>
              <a:gd name="connsiteX1" fmla="*/ 80350 w 1032256"/>
              <a:gd name="connsiteY1" fmla="*/ 0 h 5442037"/>
              <a:gd name="connsiteX2" fmla="*/ 1032256 w 1032256"/>
              <a:gd name="connsiteY2" fmla="*/ 951906 h 5442037"/>
              <a:gd name="connsiteX3" fmla="*/ 1032255 w 1032256"/>
              <a:gd name="connsiteY3" fmla="*/ 4925909 h 5442037"/>
              <a:gd name="connsiteX4" fmla="*/ 516127 w 1032256"/>
              <a:gd name="connsiteY4" fmla="*/ 5442037 h 5442037"/>
              <a:gd name="connsiteX5" fmla="*/ 516128 w 1032256"/>
              <a:gd name="connsiteY5" fmla="*/ 5442036 h 5442037"/>
              <a:gd name="connsiteX6" fmla="*/ 0 w 1032256"/>
              <a:gd name="connsiteY6" fmla="*/ 4925908 h 544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2256" h="5442037">
                <a:moveTo>
                  <a:pt x="0" y="80350"/>
                </a:moveTo>
                <a:lnTo>
                  <a:pt x="80350" y="0"/>
                </a:lnTo>
                <a:lnTo>
                  <a:pt x="1032256" y="951906"/>
                </a:lnTo>
                <a:lnTo>
                  <a:pt x="1032255" y="4925909"/>
                </a:lnTo>
                <a:cubicBezTo>
                  <a:pt x="1032255" y="5210959"/>
                  <a:pt x="801177" y="5442037"/>
                  <a:pt x="516127" y="5442037"/>
                </a:cubicBezTo>
                <a:lnTo>
                  <a:pt x="516128" y="5442036"/>
                </a:lnTo>
                <a:cubicBezTo>
                  <a:pt x="231078" y="5442036"/>
                  <a:pt x="0" y="5210958"/>
                  <a:pt x="0" y="492590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61D5A5C-10B5-236E-C5A3-320C49CAC101}"/>
              </a:ext>
            </a:extLst>
          </p:cNvPr>
          <p:cNvSpPr/>
          <p:nvPr userDrawn="1"/>
        </p:nvSpPr>
        <p:spPr>
          <a:xfrm rot="2700000">
            <a:off x="10155384" y="-743160"/>
            <a:ext cx="619166" cy="4750557"/>
          </a:xfrm>
          <a:custGeom>
            <a:avLst/>
            <a:gdLst>
              <a:gd name="connsiteX0" fmla="*/ 0 w 619166"/>
              <a:gd name="connsiteY0" fmla="*/ 376697 h 4750557"/>
              <a:gd name="connsiteX1" fmla="*/ 376697 w 619166"/>
              <a:gd name="connsiteY1" fmla="*/ 0 h 4750557"/>
              <a:gd name="connsiteX2" fmla="*/ 619166 w 619166"/>
              <a:gd name="connsiteY2" fmla="*/ 242469 h 4750557"/>
              <a:gd name="connsiteX3" fmla="*/ 619165 w 619166"/>
              <a:gd name="connsiteY3" fmla="*/ 4440974 h 4750557"/>
              <a:gd name="connsiteX4" fmla="*/ 309582 w 619166"/>
              <a:gd name="connsiteY4" fmla="*/ 4750557 h 4750557"/>
              <a:gd name="connsiteX5" fmla="*/ 309583 w 619166"/>
              <a:gd name="connsiteY5" fmla="*/ 4750556 h 4750557"/>
              <a:gd name="connsiteX6" fmla="*/ 0 w 619166"/>
              <a:gd name="connsiteY6" fmla="*/ 4440973 h 475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166" h="4750557">
                <a:moveTo>
                  <a:pt x="0" y="376697"/>
                </a:moveTo>
                <a:lnTo>
                  <a:pt x="376697" y="0"/>
                </a:lnTo>
                <a:lnTo>
                  <a:pt x="619166" y="242469"/>
                </a:lnTo>
                <a:lnTo>
                  <a:pt x="619165" y="4440974"/>
                </a:lnTo>
                <a:cubicBezTo>
                  <a:pt x="619165" y="4611952"/>
                  <a:pt x="480560" y="4750557"/>
                  <a:pt x="309582" y="4750557"/>
                </a:cubicBezTo>
                <a:lnTo>
                  <a:pt x="309583" y="4750556"/>
                </a:lnTo>
                <a:cubicBezTo>
                  <a:pt x="138605" y="4750556"/>
                  <a:pt x="0" y="4611951"/>
                  <a:pt x="0" y="4440973"/>
                </a:cubicBezTo>
                <a:close/>
              </a:path>
            </a:pathLst>
          </a:custGeom>
          <a:solidFill>
            <a:srgbClr val="0CE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380E180-0B33-1124-60B3-4CE23784FB15}"/>
              </a:ext>
            </a:extLst>
          </p:cNvPr>
          <p:cNvSpPr/>
          <p:nvPr userDrawn="1"/>
        </p:nvSpPr>
        <p:spPr>
          <a:xfrm rot="2700000">
            <a:off x="10829819" y="1073856"/>
            <a:ext cx="825711" cy="3510810"/>
          </a:xfrm>
          <a:custGeom>
            <a:avLst/>
            <a:gdLst>
              <a:gd name="connsiteX0" fmla="*/ 0 w 825711"/>
              <a:gd name="connsiteY0" fmla="*/ 0 h 3510810"/>
              <a:gd name="connsiteX1" fmla="*/ 825711 w 825711"/>
              <a:gd name="connsiteY1" fmla="*/ 825711 h 3510810"/>
              <a:gd name="connsiteX2" fmla="*/ 825711 w 825711"/>
              <a:gd name="connsiteY2" fmla="*/ 3097954 h 3510810"/>
              <a:gd name="connsiteX3" fmla="*/ 412855 w 825711"/>
              <a:gd name="connsiteY3" fmla="*/ 3510810 h 3510810"/>
              <a:gd name="connsiteX4" fmla="*/ 412856 w 825711"/>
              <a:gd name="connsiteY4" fmla="*/ 3510809 h 3510810"/>
              <a:gd name="connsiteX5" fmla="*/ 0 w 825711"/>
              <a:gd name="connsiteY5" fmla="*/ 3097953 h 351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5711" h="3510810">
                <a:moveTo>
                  <a:pt x="0" y="0"/>
                </a:moveTo>
                <a:lnTo>
                  <a:pt x="825711" y="825711"/>
                </a:lnTo>
                <a:lnTo>
                  <a:pt x="825711" y="3097954"/>
                </a:lnTo>
                <a:cubicBezTo>
                  <a:pt x="825711" y="3325968"/>
                  <a:pt x="640869" y="3510810"/>
                  <a:pt x="412855" y="3510810"/>
                </a:cubicBezTo>
                <a:lnTo>
                  <a:pt x="412856" y="3510809"/>
                </a:lnTo>
                <a:cubicBezTo>
                  <a:pt x="184842" y="3510809"/>
                  <a:pt x="0" y="3325967"/>
                  <a:pt x="0" y="3097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5825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2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4175059"/>
            <a:ext cx="624575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45751" cy="2084832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4575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6E9086A-E529-2788-B0E4-EFA79D0E2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1F4E818-2A83-7489-FE1B-DC8FFF233719}"/>
              </a:ext>
            </a:extLst>
          </p:cNvPr>
          <p:cNvSpPr/>
          <p:nvPr userDrawn="1"/>
        </p:nvSpPr>
        <p:spPr>
          <a:xfrm rot="900000">
            <a:off x="7116823" y="-191976"/>
            <a:ext cx="1244450" cy="1815506"/>
          </a:xfrm>
          <a:custGeom>
            <a:avLst/>
            <a:gdLst>
              <a:gd name="connsiteX0" fmla="*/ 0 w 1244450"/>
              <a:gd name="connsiteY0" fmla="*/ 333449 h 1815506"/>
              <a:gd name="connsiteX1" fmla="*/ 1244450 w 1244450"/>
              <a:gd name="connsiteY1" fmla="*/ 0 h 1815506"/>
              <a:gd name="connsiteX2" fmla="*/ 1244450 w 1244450"/>
              <a:gd name="connsiteY2" fmla="*/ 1193281 h 1815506"/>
              <a:gd name="connsiteX3" fmla="*/ 622225 w 1244450"/>
              <a:gd name="connsiteY3" fmla="*/ 1815506 h 1815506"/>
              <a:gd name="connsiteX4" fmla="*/ 0 w 1244450"/>
              <a:gd name="connsiteY4" fmla="*/ 1193281 h 181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4450" h="1815506">
                <a:moveTo>
                  <a:pt x="0" y="333449"/>
                </a:moveTo>
                <a:lnTo>
                  <a:pt x="1244450" y="0"/>
                </a:lnTo>
                <a:lnTo>
                  <a:pt x="1244450" y="1193281"/>
                </a:lnTo>
                <a:cubicBezTo>
                  <a:pt x="1244450" y="1536926"/>
                  <a:pt x="965870" y="1815506"/>
                  <a:pt x="622225" y="1815506"/>
                </a:cubicBezTo>
                <a:cubicBezTo>
                  <a:pt x="278580" y="1815506"/>
                  <a:pt x="0" y="1536926"/>
                  <a:pt x="0" y="1193281"/>
                </a:cubicBezTo>
                <a:close/>
              </a:path>
            </a:pathLst>
          </a:custGeom>
          <a:gradFill>
            <a:gsLst>
              <a:gs pos="20000">
                <a:srgbClr val="140B42"/>
              </a:gs>
              <a:gs pos="80000">
                <a:schemeClr val="accent2"/>
              </a:gs>
            </a:gsLst>
            <a:lin ang="5400000" scaled="1"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213A8D0-50D2-BE07-C33B-5280FE4232B0}"/>
              </a:ext>
            </a:extLst>
          </p:cNvPr>
          <p:cNvSpPr/>
          <p:nvPr userDrawn="1"/>
        </p:nvSpPr>
        <p:spPr>
          <a:xfrm rot="900000">
            <a:off x="11384415" y="4422162"/>
            <a:ext cx="1089824" cy="2621535"/>
          </a:xfrm>
          <a:custGeom>
            <a:avLst/>
            <a:gdLst>
              <a:gd name="connsiteX0" fmla="*/ 465632 w 1089824"/>
              <a:gd name="connsiteY0" fmla="*/ 0 h 2621535"/>
              <a:gd name="connsiteX1" fmla="*/ 1089824 w 1089824"/>
              <a:gd name="connsiteY1" fmla="*/ 2329517 h 2621535"/>
              <a:gd name="connsiteX2" fmla="*/ 0 w 1089824"/>
              <a:gd name="connsiteY2" fmla="*/ 2621535 h 2621535"/>
              <a:gd name="connsiteX3" fmla="*/ 0 w 1089824"/>
              <a:gd name="connsiteY3" fmla="*/ 596865 h 2621535"/>
              <a:gd name="connsiteX4" fmla="*/ 377494 w 1089824"/>
              <a:gd name="connsiteY4" fmla="*/ 27359 h 2621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24" h="2621535">
                <a:moveTo>
                  <a:pt x="465632" y="0"/>
                </a:moveTo>
                <a:lnTo>
                  <a:pt x="1089824" y="2329517"/>
                </a:lnTo>
                <a:lnTo>
                  <a:pt x="0" y="2621535"/>
                </a:lnTo>
                <a:lnTo>
                  <a:pt x="0" y="596865"/>
                </a:lnTo>
                <a:cubicBezTo>
                  <a:pt x="0" y="340849"/>
                  <a:pt x="155656" y="121189"/>
                  <a:pt x="377494" y="27359"/>
                </a:cubicBezTo>
                <a:close/>
              </a:path>
            </a:pathLst>
          </a:custGeom>
          <a:gradFill flip="none" rotWithShape="1">
            <a:gsLst>
              <a:gs pos="20000">
                <a:schemeClr val="accent2"/>
              </a:gs>
              <a:gs pos="8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err="1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A7F2F6-48FC-1B44-89F9-84682C0ED811}"/>
              </a:ext>
            </a:extLst>
          </p:cNvPr>
          <p:cNvSpPr/>
          <p:nvPr userDrawn="1"/>
        </p:nvSpPr>
        <p:spPr>
          <a:xfrm rot="900000">
            <a:off x="7841778" y="-500135"/>
            <a:ext cx="3914186" cy="7999940"/>
          </a:xfrm>
          <a:custGeom>
            <a:avLst/>
            <a:gdLst>
              <a:gd name="connsiteX0" fmla="*/ 3362855 w 3914186"/>
              <a:gd name="connsiteY0" fmla="*/ 0 h 7999940"/>
              <a:gd name="connsiteX1" fmla="*/ 3914186 w 3914186"/>
              <a:gd name="connsiteY1" fmla="*/ 2057597 h 7999940"/>
              <a:gd name="connsiteX2" fmla="*/ 3914185 w 3914186"/>
              <a:gd name="connsiteY2" fmla="*/ 6952194 h 7999940"/>
              <a:gd name="connsiteX3" fmla="*/ 3947 w 3914186"/>
              <a:gd name="connsiteY3" fmla="*/ 7999940 h 7999940"/>
              <a:gd name="connsiteX4" fmla="*/ 0 w 3914186"/>
              <a:gd name="connsiteY4" fmla="*/ 7921778 h 7999940"/>
              <a:gd name="connsiteX5" fmla="*/ 1 w 3914186"/>
              <a:gd name="connsiteY5" fmla="*/ 901074 h 7999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4186" h="7999940">
                <a:moveTo>
                  <a:pt x="3362855" y="0"/>
                </a:moveTo>
                <a:lnTo>
                  <a:pt x="3914186" y="2057597"/>
                </a:lnTo>
                <a:lnTo>
                  <a:pt x="3914185" y="6952194"/>
                </a:lnTo>
                <a:lnTo>
                  <a:pt x="3947" y="7999940"/>
                </a:lnTo>
                <a:lnTo>
                  <a:pt x="0" y="7921778"/>
                </a:lnTo>
                <a:lnTo>
                  <a:pt x="1" y="901074"/>
                </a:lnTo>
                <a:close/>
              </a:path>
            </a:pathLst>
          </a:custGeom>
          <a:solidFill>
            <a:schemeClr val="accent2"/>
          </a:soli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50733-D386-D461-6995-42A6097FF11E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224401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C7CB88CE-AFAB-3162-5EFA-DACFAECFC82B}"/>
              </a:ext>
            </a:extLst>
          </p:cNvPr>
          <p:cNvSpPr/>
          <p:nvPr userDrawn="1"/>
        </p:nvSpPr>
        <p:spPr>
          <a:xfrm rot="5400000" flipH="1">
            <a:off x="1141342" y="704015"/>
            <a:ext cx="877958" cy="316064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8BBCD43-EEDD-17C3-B8E4-320E6ECA340F}"/>
              </a:ext>
            </a:extLst>
          </p:cNvPr>
          <p:cNvSpPr/>
          <p:nvPr userDrawn="1"/>
        </p:nvSpPr>
        <p:spPr>
          <a:xfrm rot="5400000" flipH="1">
            <a:off x="572602" y="4899986"/>
            <a:ext cx="877958" cy="202316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AC34CDE1-031B-F659-37E6-092E1C8890F5}"/>
              </a:ext>
            </a:extLst>
          </p:cNvPr>
          <p:cNvSpPr/>
          <p:nvPr userDrawn="1"/>
        </p:nvSpPr>
        <p:spPr>
          <a:xfrm rot="5400000" flipH="1">
            <a:off x="766970" y="1545530"/>
            <a:ext cx="3591342" cy="5125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0223E2A-EF00-0A08-DA2A-FCB4BDA5AE23}"/>
              </a:ext>
            </a:extLst>
          </p:cNvPr>
          <p:cNvSpPr/>
          <p:nvPr userDrawn="1"/>
        </p:nvSpPr>
        <p:spPr>
          <a:xfrm rot="5400000" flipH="1">
            <a:off x="2255792" y="2934275"/>
            <a:ext cx="877958" cy="5389536"/>
          </a:xfrm>
          <a:custGeom>
            <a:avLst/>
            <a:gdLst>
              <a:gd name="connsiteX0" fmla="*/ 438979 w 877958"/>
              <a:gd name="connsiteY0" fmla="*/ 0 h 5389536"/>
              <a:gd name="connsiteX1" fmla="*/ 438979 w 877958"/>
              <a:gd name="connsiteY1" fmla="*/ 0 h 5389536"/>
              <a:gd name="connsiteX2" fmla="*/ 877958 w 877958"/>
              <a:gd name="connsiteY2" fmla="*/ 438979 h 5389536"/>
              <a:gd name="connsiteX3" fmla="*/ 877958 w 877958"/>
              <a:gd name="connsiteY3" fmla="*/ 5389536 h 5389536"/>
              <a:gd name="connsiteX4" fmla="*/ 877958 w 877958"/>
              <a:gd name="connsiteY4" fmla="*/ 5389536 h 5389536"/>
              <a:gd name="connsiteX5" fmla="*/ 0 w 877958"/>
              <a:gd name="connsiteY5" fmla="*/ 5389536 h 5389536"/>
              <a:gd name="connsiteX6" fmla="*/ 0 w 877958"/>
              <a:gd name="connsiteY6" fmla="*/ 5389536 h 5389536"/>
              <a:gd name="connsiteX7" fmla="*/ 0 w 877958"/>
              <a:gd name="connsiteY7" fmla="*/ 438979 h 5389536"/>
              <a:gd name="connsiteX8" fmla="*/ 438979 w 877958"/>
              <a:gd name="connsiteY8" fmla="*/ 0 h 5389536"/>
              <a:gd name="connsiteX0" fmla="*/ 0 w 877958"/>
              <a:gd name="connsiteY0" fmla="*/ 5389536 h 5480976"/>
              <a:gd name="connsiteX1" fmla="*/ 0 w 877958"/>
              <a:gd name="connsiteY1" fmla="*/ 438979 h 5480976"/>
              <a:gd name="connsiteX2" fmla="*/ 438979 w 877958"/>
              <a:gd name="connsiteY2" fmla="*/ 0 h 5480976"/>
              <a:gd name="connsiteX3" fmla="*/ 438979 w 877958"/>
              <a:gd name="connsiteY3" fmla="*/ 0 h 5480976"/>
              <a:gd name="connsiteX4" fmla="*/ 877958 w 877958"/>
              <a:gd name="connsiteY4" fmla="*/ 438979 h 5480976"/>
              <a:gd name="connsiteX5" fmla="*/ 877958 w 877958"/>
              <a:gd name="connsiteY5" fmla="*/ 5389536 h 5480976"/>
              <a:gd name="connsiteX6" fmla="*/ 877958 w 877958"/>
              <a:gd name="connsiteY6" fmla="*/ 5389536 h 5480976"/>
              <a:gd name="connsiteX7" fmla="*/ 0 w 877958"/>
              <a:gd name="connsiteY7" fmla="*/ 5389536 h 5480976"/>
              <a:gd name="connsiteX8" fmla="*/ 91440 w 877958"/>
              <a:gd name="connsiteY8" fmla="*/ 5480976 h 5480976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  <a:gd name="connsiteX7" fmla="*/ 0 w 877958"/>
              <a:gd name="connsiteY7" fmla="*/ 5389536 h 5389536"/>
              <a:gd name="connsiteX0" fmla="*/ 0 w 877958"/>
              <a:gd name="connsiteY0" fmla="*/ 5389536 h 5442453"/>
              <a:gd name="connsiteX1" fmla="*/ 0 w 877958"/>
              <a:gd name="connsiteY1" fmla="*/ 438979 h 5442453"/>
              <a:gd name="connsiteX2" fmla="*/ 438979 w 877958"/>
              <a:gd name="connsiteY2" fmla="*/ 0 h 5442453"/>
              <a:gd name="connsiteX3" fmla="*/ 438979 w 877958"/>
              <a:gd name="connsiteY3" fmla="*/ 0 h 5442453"/>
              <a:gd name="connsiteX4" fmla="*/ 877958 w 877958"/>
              <a:gd name="connsiteY4" fmla="*/ 438979 h 5442453"/>
              <a:gd name="connsiteX5" fmla="*/ 877958 w 877958"/>
              <a:gd name="connsiteY5" fmla="*/ 5389536 h 5442453"/>
              <a:gd name="connsiteX6" fmla="*/ 877958 w 877958"/>
              <a:gd name="connsiteY6" fmla="*/ 5389536 h 5442453"/>
              <a:gd name="connsiteX7" fmla="*/ 14816 w 877958"/>
              <a:gd name="connsiteY7" fmla="*/ 5442453 h 5442453"/>
              <a:gd name="connsiteX0" fmla="*/ 0 w 877958"/>
              <a:gd name="connsiteY0" fmla="*/ 5389536 h 5389536"/>
              <a:gd name="connsiteX1" fmla="*/ 0 w 877958"/>
              <a:gd name="connsiteY1" fmla="*/ 438979 h 5389536"/>
              <a:gd name="connsiteX2" fmla="*/ 438979 w 877958"/>
              <a:gd name="connsiteY2" fmla="*/ 0 h 5389536"/>
              <a:gd name="connsiteX3" fmla="*/ 438979 w 877958"/>
              <a:gd name="connsiteY3" fmla="*/ 0 h 5389536"/>
              <a:gd name="connsiteX4" fmla="*/ 877958 w 877958"/>
              <a:gd name="connsiteY4" fmla="*/ 438979 h 5389536"/>
              <a:gd name="connsiteX5" fmla="*/ 877958 w 877958"/>
              <a:gd name="connsiteY5" fmla="*/ 5389536 h 5389536"/>
              <a:gd name="connsiteX6" fmla="*/ 877958 w 877958"/>
              <a:gd name="connsiteY6" fmla="*/ 5389536 h 538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7958" h="5389536">
                <a:moveTo>
                  <a:pt x="0" y="5389536"/>
                </a:moveTo>
                <a:lnTo>
                  <a:pt x="0" y="438979"/>
                </a:lnTo>
                <a:cubicBezTo>
                  <a:pt x="0" y="196538"/>
                  <a:pt x="196538" y="0"/>
                  <a:pt x="438979" y="0"/>
                </a:cubicBezTo>
                <a:lnTo>
                  <a:pt x="438979" y="0"/>
                </a:lnTo>
                <a:cubicBezTo>
                  <a:pt x="681420" y="0"/>
                  <a:pt x="877958" y="196538"/>
                  <a:pt x="877958" y="438979"/>
                </a:cubicBezTo>
                <a:lnTo>
                  <a:pt x="877958" y="5389536"/>
                </a:lnTo>
                <a:lnTo>
                  <a:pt x="877958" y="5389536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endParaRPr lang="en-US" sz="1600" dirty="0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9C315F-6F0F-88CF-06F8-56C10BD0C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046CC9-1517-70B1-8165-DF336CD8DB1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5617028" y="2465262"/>
            <a:ext cx="5889171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78454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7C944E-D498-D622-98F6-EFDA46864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2001994"/>
            <a:ext cx="5588846" cy="328269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22C3E46-9D61-E508-04E3-6A06DDAA0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6C46D3E-AC6D-3103-8DBD-956D74F4C909}"/>
              </a:ext>
            </a:extLst>
          </p:cNvPr>
          <p:cNvSpPr/>
          <p:nvPr userDrawn="1"/>
        </p:nvSpPr>
        <p:spPr>
          <a:xfrm rot="900000">
            <a:off x="8442677" y="-448970"/>
            <a:ext cx="3111997" cy="7865277"/>
          </a:xfrm>
          <a:custGeom>
            <a:avLst/>
            <a:gdLst>
              <a:gd name="connsiteX0" fmla="*/ 0 w 3111997"/>
              <a:gd name="connsiteY0" fmla="*/ 743009 h 7865277"/>
              <a:gd name="connsiteX1" fmla="*/ 2772948 w 3111997"/>
              <a:gd name="connsiteY1" fmla="*/ 0 h 7865277"/>
              <a:gd name="connsiteX2" fmla="*/ 3111997 w 3111997"/>
              <a:gd name="connsiteY2" fmla="*/ 1265346 h 7865277"/>
              <a:gd name="connsiteX3" fmla="*/ 3111997 w 3111997"/>
              <a:gd name="connsiteY3" fmla="*/ 7031420 h 7865277"/>
              <a:gd name="connsiteX4" fmla="*/ 0 w 3111997"/>
              <a:gd name="connsiteY4" fmla="*/ 7865277 h 7865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1997" h="7865277">
                <a:moveTo>
                  <a:pt x="0" y="743009"/>
                </a:moveTo>
                <a:lnTo>
                  <a:pt x="2772948" y="0"/>
                </a:lnTo>
                <a:lnTo>
                  <a:pt x="3111997" y="1265346"/>
                </a:lnTo>
                <a:lnTo>
                  <a:pt x="3111997" y="7031420"/>
                </a:lnTo>
                <a:lnTo>
                  <a:pt x="0" y="7865277"/>
                </a:lnTo>
                <a:close/>
              </a:path>
            </a:pathLst>
          </a:custGeom>
          <a:gradFill flip="none" rotWithShape="1">
            <a:gsLst>
              <a:gs pos="80000">
                <a:srgbClr val="005587"/>
              </a:gs>
              <a:gs pos="20000">
                <a:srgbClr val="140B42"/>
              </a:gs>
            </a:gsLst>
            <a:lin ang="5400000" scaled="1"/>
            <a:tileRect/>
          </a:gradFill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91B8118-8001-4841-19F8-D496141A50A0}"/>
              </a:ext>
            </a:extLst>
          </p:cNvPr>
          <p:cNvSpPr/>
          <p:nvPr userDrawn="1"/>
        </p:nvSpPr>
        <p:spPr>
          <a:xfrm rot="900000">
            <a:off x="7857953" y="-251045"/>
            <a:ext cx="1122250" cy="6279582"/>
          </a:xfrm>
          <a:custGeom>
            <a:avLst/>
            <a:gdLst>
              <a:gd name="connsiteX0" fmla="*/ 0 w 1122250"/>
              <a:gd name="connsiteY0" fmla="*/ 299494 h 6279582"/>
              <a:gd name="connsiteX1" fmla="*/ 1117728 w 1122250"/>
              <a:gd name="connsiteY1" fmla="*/ 0 h 6279582"/>
              <a:gd name="connsiteX2" fmla="*/ 1122250 w 1122250"/>
              <a:gd name="connsiteY2" fmla="*/ 44868 h 6279582"/>
              <a:gd name="connsiteX3" fmla="*/ 1122250 w 1122250"/>
              <a:gd name="connsiteY3" fmla="*/ 5718457 h 6279582"/>
              <a:gd name="connsiteX4" fmla="*/ 561125 w 1122250"/>
              <a:gd name="connsiteY4" fmla="*/ 6279582 h 6279582"/>
              <a:gd name="connsiteX5" fmla="*/ 0 w 1122250"/>
              <a:gd name="connsiteY5" fmla="*/ 5718457 h 627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250" h="6279582">
                <a:moveTo>
                  <a:pt x="0" y="299494"/>
                </a:moveTo>
                <a:lnTo>
                  <a:pt x="1117728" y="0"/>
                </a:lnTo>
                <a:lnTo>
                  <a:pt x="1122250" y="44868"/>
                </a:lnTo>
                <a:lnTo>
                  <a:pt x="1122250" y="5718457"/>
                </a:lnTo>
                <a:cubicBezTo>
                  <a:pt x="1122250" y="6028358"/>
                  <a:pt x="871026" y="6279582"/>
                  <a:pt x="561125" y="6279582"/>
                </a:cubicBezTo>
                <a:cubicBezTo>
                  <a:pt x="251224" y="6279582"/>
                  <a:pt x="0" y="6028358"/>
                  <a:pt x="0" y="57184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D0BEB81-5C21-E6CB-2945-4D85A1CF4B39}"/>
              </a:ext>
            </a:extLst>
          </p:cNvPr>
          <p:cNvSpPr/>
          <p:nvPr userDrawn="1"/>
        </p:nvSpPr>
        <p:spPr>
          <a:xfrm rot="900000">
            <a:off x="10684011" y="4443897"/>
            <a:ext cx="1122250" cy="2625649"/>
          </a:xfrm>
          <a:custGeom>
            <a:avLst/>
            <a:gdLst>
              <a:gd name="connsiteX0" fmla="*/ 448039 w 1122250"/>
              <a:gd name="connsiteY0" fmla="*/ 11400 h 2625649"/>
              <a:gd name="connsiteX1" fmla="*/ 561125 w 1122250"/>
              <a:gd name="connsiteY1" fmla="*/ 1 h 2625649"/>
              <a:gd name="connsiteX2" fmla="*/ 1122250 w 1122250"/>
              <a:gd name="connsiteY2" fmla="*/ 561125 h 2625649"/>
              <a:gd name="connsiteX3" fmla="*/ 1122250 w 1122250"/>
              <a:gd name="connsiteY3" fmla="*/ 2324943 h 2625649"/>
              <a:gd name="connsiteX4" fmla="*/ 0 w 1122250"/>
              <a:gd name="connsiteY4" fmla="*/ 2625649 h 2625649"/>
              <a:gd name="connsiteX5" fmla="*/ 0 w 1122250"/>
              <a:gd name="connsiteY5" fmla="*/ 561125 h 2625649"/>
              <a:gd name="connsiteX6" fmla="*/ 448039 w 1122250"/>
              <a:gd name="connsiteY6" fmla="*/ 11400 h 262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2250" h="2625649">
                <a:moveTo>
                  <a:pt x="448039" y="11400"/>
                </a:moveTo>
                <a:cubicBezTo>
                  <a:pt x="484566" y="3926"/>
                  <a:pt x="522387" y="0"/>
                  <a:pt x="561125" y="1"/>
                </a:cubicBezTo>
                <a:cubicBezTo>
                  <a:pt x="871026" y="0"/>
                  <a:pt x="1122250" y="251225"/>
                  <a:pt x="1122250" y="561125"/>
                </a:cubicBezTo>
                <a:lnTo>
                  <a:pt x="1122250" y="2324943"/>
                </a:lnTo>
                <a:lnTo>
                  <a:pt x="0" y="2625649"/>
                </a:lnTo>
                <a:lnTo>
                  <a:pt x="0" y="561125"/>
                </a:lnTo>
                <a:cubicBezTo>
                  <a:pt x="0" y="289962"/>
                  <a:pt x="192344" y="63723"/>
                  <a:pt x="448039" y="11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4416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D008FDF6-6C42-435C-8ABA-FDA3F0DFE0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995852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995852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995852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8BCC127-A4D6-48D0-A944-3E354801CDC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455B4A9-C2C4-4D4B-B5A6-E3BB93F31793}"/>
              </a:ext>
            </a:extLst>
          </p:cNvPr>
          <p:cNvSpPr/>
          <p:nvPr userDrawn="1"/>
        </p:nvSpPr>
        <p:spPr>
          <a:xfrm rot="18880191">
            <a:off x="7003968" y="958724"/>
            <a:ext cx="5766811" cy="1634831"/>
          </a:xfrm>
          <a:custGeom>
            <a:avLst/>
            <a:gdLst>
              <a:gd name="connsiteX0" fmla="*/ 7130190 w 7130190"/>
              <a:gd name="connsiteY0" fmla="*/ 1494581 h 2021334"/>
              <a:gd name="connsiteX1" fmla="*/ 6597331 w 7130190"/>
              <a:gd name="connsiteY1" fmla="*/ 2021334 h 2021334"/>
              <a:gd name="connsiteX2" fmla="*/ 1010667 w 7130190"/>
              <a:gd name="connsiteY2" fmla="*/ 2021334 h 2021334"/>
              <a:gd name="connsiteX3" fmla="*/ 0 w 7130190"/>
              <a:gd name="connsiteY3" fmla="*/ 1010667 h 2021334"/>
              <a:gd name="connsiteX4" fmla="*/ 1010667 w 7130190"/>
              <a:gd name="connsiteY4" fmla="*/ 0 h 2021334"/>
              <a:gd name="connsiteX5" fmla="*/ 5652735 w 7130190"/>
              <a:gd name="connsiteY5" fmla="*/ 0 h 2021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0190" h="2021334">
                <a:moveTo>
                  <a:pt x="7130190" y="1494581"/>
                </a:moveTo>
                <a:lnTo>
                  <a:pt x="6597331" y="2021334"/>
                </a:lnTo>
                <a:lnTo>
                  <a:pt x="1010667" y="2021334"/>
                </a:lnTo>
                <a:cubicBezTo>
                  <a:pt x="452491" y="2021334"/>
                  <a:pt x="0" y="1568843"/>
                  <a:pt x="0" y="1010667"/>
                </a:cubicBezTo>
                <a:cubicBezTo>
                  <a:pt x="0" y="452491"/>
                  <a:pt x="452491" y="0"/>
                  <a:pt x="1010667" y="0"/>
                </a:cubicBezTo>
                <a:lnTo>
                  <a:pt x="565273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45EF4D-5A59-0033-22CE-A967C3343CEA}"/>
              </a:ext>
            </a:extLst>
          </p:cNvPr>
          <p:cNvSpPr/>
          <p:nvPr userDrawn="1"/>
        </p:nvSpPr>
        <p:spPr>
          <a:xfrm rot="18880191">
            <a:off x="8499307" y="2355298"/>
            <a:ext cx="2930426" cy="887781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4CC37FF-6C44-F059-2F5F-95F30D6AF64C}"/>
              </a:ext>
            </a:extLst>
          </p:cNvPr>
          <p:cNvSpPr/>
          <p:nvPr userDrawn="1"/>
        </p:nvSpPr>
        <p:spPr>
          <a:xfrm rot="18880191">
            <a:off x="8572095" y="74113"/>
            <a:ext cx="2335382" cy="887781"/>
          </a:xfrm>
          <a:custGeom>
            <a:avLst/>
            <a:gdLst>
              <a:gd name="connsiteX0" fmla="*/ 1802418 w 2887509"/>
              <a:gd name="connsiteY0" fmla="*/ 0 h 1097669"/>
              <a:gd name="connsiteX1" fmla="*/ 2887509 w 2887509"/>
              <a:gd name="connsiteY1" fmla="*/ 1097669 h 1097669"/>
              <a:gd name="connsiteX2" fmla="*/ 548834 w 2887509"/>
              <a:gd name="connsiteY2" fmla="*/ 1097668 h 1097669"/>
              <a:gd name="connsiteX3" fmla="*/ 0 w 2887509"/>
              <a:gd name="connsiteY3" fmla="*/ 548834 h 1097669"/>
              <a:gd name="connsiteX4" fmla="*/ 548834 w 2887509"/>
              <a:gd name="connsiteY4" fmla="*/ 0 h 1097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7509" h="1097669">
                <a:moveTo>
                  <a:pt x="1802418" y="0"/>
                </a:moveTo>
                <a:lnTo>
                  <a:pt x="2887509" y="1097669"/>
                </a:lnTo>
                <a:lnTo>
                  <a:pt x="548834" y="1097668"/>
                </a:lnTo>
                <a:cubicBezTo>
                  <a:pt x="245721" y="1097668"/>
                  <a:pt x="0" y="851947"/>
                  <a:pt x="0" y="548834"/>
                </a:cubicBezTo>
                <a:cubicBezTo>
                  <a:pt x="0" y="245721"/>
                  <a:pt x="245721" y="0"/>
                  <a:pt x="5488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69183B-EF09-DEB8-DBB1-EE99DD036764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AC475A6-CE10-0E6A-2700-525C57FA92F3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437387" y="536223"/>
            <a:ext cx="3931862" cy="3934695"/>
          </a:xfrm>
          <a:custGeom>
            <a:avLst/>
            <a:gdLst>
              <a:gd name="connsiteX0" fmla="*/ 382156 w 3931862"/>
              <a:gd name="connsiteY0" fmla="*/ 10539 h 3934695"/>
              <a:gd name="connsiteX1" fmla="*/ 384583 w 3931862"/>
              <a:gd name="connsiteY1" fmla="*/ 9785 h 3934695"/>
              <a:gd name="connsiteX2" fmla="*/ 481653 w 3931862"/>
              <a:gd name="connsiteY2" fmla="*/ 0 h 3934695"/>
              <a:gd name="connsiteX3" fmla="*/ 1113950 w 3931862"/>
              <a:gd name="connsiteY3" fmla="*/ 0 h 3934695"/>
              <a:gd name="connsiteX4" fmla="*/ 3931862 w 3931862"/>
              <a:gd name="connsiteY4" fmla="*/ 2817912 h 3934695"/>
              <a:gd name="connsiteX5" fmla="*/ 3931862 w 3931862"/>
              <a:gd name="connsiteY5" fmla="*/ 3453042 h 3934695"/>
              <a:gd name="connsiteX6" fmla="*/ 3450209 w 3931862"/>
              <a:gd name="connsiteY6" fmla="*/ 3934695 h 3934695"/>
              <a:gd name="connsiteX7" fmla="*/ 481653 w 3931862"/>
              <a:gd name="connsiteY7" fmla="*/ 3934695 h 3934695"/>
              <a:gd name="connsiteX8" fmla="*/ 0 w 3931862"/>
              <a:gd name="connsiteY8" fmla="*/ 3453042 h 3934695"/>
              <a:gd name="connsiteX9" fmla="*/ 0 w 3931862"/>
              <a:gd name="connsiteY9" fmla="*/ 481653 h 3934695"/>
              <a:gd name="connsiteX10" fmla="*/ 9786 w 3931862"/>
              <a:gd name="connsiteY10" fmla="*/ 384583 h 3934695"/>
              <a:gd name="connsiteX11" fmla="*/ 10539 w 3931862"/>
              <a:gd name="connsiteY11" fmla="*/ 382157 h 3934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31862" h="3934695">
                <a:moveTo>
                  <a:pt x="382156" y="10539"/>
                </a:moveTo>
                <a:lnTo>
                  <a:pt x="384583" y="9785"/>
                </a:lnTo>
                <a:cubicBezTo>
                  <a:pt x="415937" y="3370"/>
                  <a:pt x="448402" y="0"/>
                  <a:pt x="481653" y="0"/>
                </a:cubicBezTo>
                <a:lnTo>
                  <a:pt x="1113950" y="0"/>
                </a:lnTo>
                <a:lnTo>
                  <a:pt x="3931862" y="2817912"/>
                </a:lnTo>
                <a:lnTo>
                  <a:pt x="3931862" y="3453042"/>
                </a:lnTo>
                <a:cubicBezTo>
                  <a:pt x="3931862" y="3719052"/>
                  <a:pt x="3716219" y="3934695"/>
                  <a:pt x="3450209" y="3934695"/>
                </a:cubicBezTo>
                <a:lnTo>
                  <a:pt x="481653" y="3934695"/>
                </a:lnTo>
                <a:cubicBezTo>
                  <a:pt x="215643" y="3934695"/>
                  <a:pt x="0" y="3719052"/>
                  <a:pt x="0" y="3453042"/>
                </a:cubicBezTo>
                <a:lnTo>
                  <a:pt x="0" y="481653"/>
                </a:lnTo>
                <a:cubicBezTo>
                  <a:pt x="0" y="448402"/>
                  <a:pt x="3369" y="415937"/>
                  <a:pt x="9786" y="384583"/>
                </a:cubicBezTo>
                <a:lnTo>
                  <a:pt x="10539" y="3821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4012F6A-325E-BA05-9E6A-DBAD18E7D956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10223690" y="810799"/>
            <a:ext cx="3785617" cy="3568117"/>
          </a:xfrm>
          <a:custGeom>
            <a:avLst/>
            <a:gdLst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7" fmla="*/ 197031 w 3804547"/>
              <a:gd name="connsiteY7" fmla="*/ 91440 h 3701473"/>
              <a:gd name="connsiteX0" fmla="*/ 105591 w 3804547"/>
              <a:gd name="connsiteY0" fmla="*/ 0 h 3701473"/>
              <a:gd name="connsiteX1" fmla="*/ 3804547 w 3804547"/>
              <a:gd name="connsiteY1" fmla="*/ 3698955 h 3701473"/>
              <a:gd name="connsiteX2" fmla="*/ 3779576 w 3804547"/>
              <a:gd name="connsiteY2" fmla="*/ 3701473 h 3701473"/>
              <a:gd name="connsiteX3" fmla="*/ 501834 w 3804547"/>
              <a:gd name="connsiteY3" fmla="*/ 3701473 h 3701473"/>
              <a:gd name="connsiteX4" fmla="*/ 0 w 3804547"/>
              <a:gd name="connsiteY4" fmla="*/ 3199639 h 3701473"/>
              <a:gd name="connsiteX5" fmla="*/ 0 w 3804547"/>
              <a:gd name="connsiteY5" fmla="*/ 106703 h 3701473"/>
              <a:gd name="connsiteX6" fmla="*/ 125 w 3804547"/>
              <a:gd name="connsiteY6" fmla="*/ 105466 h 3701473"/>
              <a:gd name="connsiteX0" fmla="*/ 3804547 w 3804547"/>
              <a:gd name="connsiteY0" fmla="*/ 3593489 h 3596007"/>
              <a:gd name="connsiteX1" fmla="*/ 3779576 w 3804547"/>
              <a:gd name="connsiteY1" fmla="*/ 3596007 h 3596007"/>
              <a:gd name="connsiteX2" fmla="*/ 501834 w 3804547"/>
              <a:gd name="connsiteY2" fmla="*/ 3596007 h 3596007"/>
              <a:gd name="connsiteX3" fmla="*/ 0 w 3804547"/>
              <a:gd name="connsiteY3" fmla="*/ 3094173 h 3596007"/>
              <a:gd name="connsiteX4" fmla="*/ 0 w 3804547"/>
              <a:gd name="connsiteY4" fmla="*/ 1237 h 3596007"/>
              <a:gd name="connsiteX5" fmla="*/ 125 w 3804547"/>
              <a:gd name="connsiteY5" fmla="*/ 0 h 35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04547" h="3596007">
                <a:moveTo>
                  <a:pt x="3804547" y="3593489"/>
                </a:moveTo>
                <a:lnTo>
                  <a:pt x="3779576" y="3596007"/>
                </a:lnTo>
                <a:lnTo>
                  <a:pt x="501834" y="3596007"/>
                </a:lnTo>
                <a:cubicBezTo>
                  <a:pt x="224679" y="3596007"/>
                  <a:pt x="0" y="3371328"/>
                  <a:pt x="0" y="3094173"/>
                </a:cubicBezTo>
                <a:lnTo>
                  <a:pt x="0" y="1237"/>
                </a:lnTo>
                <a:cubicBezTo>
                  <a:pt x="42" y="825"/>
                  <a:pt x="83" y="412"/>
                  <a:pt x="12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1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AEDBA70-406E-67AC-EA19-AFC94EEB8D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80FF161-95B3-687F-236E-89576B37039B}"/>
              </a:ext>
            </a:extLst>
          </p:cNvPr>
          <p:cNvSpPr/>
          <p:nvPr userDrawn="1"/>
        </p:nvSpPr>
        <p:spPr>
          <a:xfrm rot="18896850">
            <a:off x="8810675" y="809749"/>
            <a:ext cx="2572502" cy="6381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1B89BCA-B6DC-9CFA-1B14-60CBF7F68A9A}"/>
              </a:ext>
            </a:extLst>
          </p:cNvPr>
          <p:cNvSpPr/>
          <p:nvPr userDrawn="1"/>
        </p:nvSpPr>
        <p:spPr>
          <a:xfrm rot="18896850">
            <a:off x="9955161" y="3750354"/>
            <a:ext cx="2884755" cy="638140"/>
          </a:xfrm>
          <a:custGeom>
            <a:avLst/>
            <a:gdLst>
              <a:gd name="connsiteX0" fmla="*/ 3674317 w 3674317"/>
              <a:gd name="connsiteY0" fmla="*/ 0 h 812800"/>
              <a:gd name="connsiteX1" fmla="*/ 2860027 w 3674317"/>
              <a:gd name="connsiteY1" fmla="*/ 812800 h 812800"/>
              <a:gd name="connsiteX2" fmla="*/ 406400 w 3674317"/>
              <a:gd name="connsiteY2" fmla="*/ 812800 h 812800"/>
              <a:gd name="connsiteX3" fmla="*/ 0 w 3674317"/>
              <a:gd name="connsiteY3" fmla="*/ 406400 h 812800"/>
              <a:gd name="connsiteX4" fmla="*/ 406400 w 3674317"/>
              <a:gd name="connsiteY4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4317" h="812800">
                <a:moveTo>
                  <a:pt x="3674317" y="0"/>
                </a:moveTo>
                <a:lnTo>
                  <a:pt x="2860027" y="812800"/>
                </a:lnTo>
                <a:lnTo>
                  <a:pt x="406400" y="812800"/>
                </a:lnTo>
                <a:cubicBezTo>
                  <a:pt x="181951" y="812800"/>
                  <a:pt x="0" y="630849"/>
                  <a:pt x="0" y="406400"/>
                </a:cubicBezTo>
                <a:cubicBezTo>
                  <a:pt x="0" y="181951"/>
                  <a:pt x="181951" y="0"/>
                  <a:pt x="4064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F014C0-8BB5-5793-9DBD-D422EF624E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711200"/>
            <a:ext cx="7285515" cy="45766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81AB1C-94E0-88DE-B7FB-AF548E53C0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20C9601-4C00-1F60-ACBA-FDEED78A2031}"/>
              </a:ext>
            </a:extLst>
          </p:cNvPr>
          <p:cNvSpPr>
            <a:spLocks/>
          </p:cNvSpPr>
          <p:nvPr userDrawn="1"/>
        </p:nvSpPr>
        <p:spPr bwMode="auto">
          <a:xfrm>
            <a:off x="11012739" y="-38910"/>
            <a:ext cx="1224656" cy="1829007"/>
          </a:xfrm>
          <a:custGeom>
            <a:avLst/>
            <a:gdLst>
              <a:gd name="connsiteX0" fmla="*/ 153315 w 1224656"/>
              <a:gd name="connsiteY0" fmla="*/ 0 h 1829007"/>
              <a:gd name="connsiteX1" fmla="*/ 1224656 w 1224656"/>
              <a:gd name="connsiteY1" fmla="*/ 0 h 1829007"/>
              <a:gd name="connsiteX2" fmla="*/ 1224656 w 1224656"/>
              <a:gd name="connsiteY2" fmla="*/ 1829007 h 1829007"/>
              <a:gd name="connsiteX3" fmla="*/ 1154215 w 1224656"/>
              <a:gd name="connsiteY3" fmla="*/ 1758565 h 1829007"/>
              <a:gd name="connsiteX4" fmla="*/ 159544 w 1224656"/>
              <a:gd name="connsiteY4" fmla="*/ 763895 h 1829007"/>
              <a:gd name="connsiteX5" fmla="*/ 89744 w 1224656"/>
              <a:gd name="connsiteY5" fmla="*/ 77872 h 1829007"/>
              <a:gd name="connsiteX0" fmla="*/ 1224656 w 1316096"/>
              <a:gd name="connsiteY0" fmla="*/ 0 h 1829007"/>
              <a:gd name="connsiteX1" fmla="*/ 1224656 w 1316096"/>
              <a:gd name="connsiteY1" fmla="*/ 1829007 h 1829007"/>
              <a:gd name="connsiteX2" fmla="*/ 1154215 w 1316096"/>
              <a:gd name="connsiteY2" fmla="*/ 1758565 h 1829007"/>
              <a:gd name="connsiteX3" fmla="*/ 159544 w 1316096"/>
              <a:gd name="connsiteY3" fmla="*/ 763895 h 1829007"/>
              <a:gd name="connsiteX4" fmla="*/ 89744 w 1316096"/>
              <a:gd name="connsiteY4" fmla="*/ 77872 h 1829007"/>
              <a:gd name="connsiteX5" fmla="*/ 153315 w 1316096"/>
              <a:gd name="connsiteY5" fmla="*/ 0 h 1829007"/>
              <a:gd name="connsiteX6" fmla="*/ 1316096 w 1316096"/>
              <a:gd name="connsiteY6" fmla="*/ 91440 h 1829007"/>
              <a:gd name="connsiteX0" fmla="*/ 1224656 w 1224656"/>
              <a:gd name="connsiteY0" fmla="*/ 0 h 1829007"/>
              <a:gd name="connsiteX1" fmla="*/ 1224656 w 1224656"/>
              <a:gd name="connsiteY1" fmla="*/ 1829007 h 1829007"/>
              <a:gd name="connsiteX2" fmla="*/ 1154215 w 1224656"/>
              <a:gd name="connsiteY2" fmla="*/ 1758565 h 1829007"/>
              <a:gd name="connsiteX3" fmla="*/ 159544 w 1224656"/>
              <a:gd name="connsiteY3" fmla="*/ 763895 h 1829007"/>
              <a:gd name="connsiteX4" fmla="*/ 89744 w 1224656"/>
              <a:gd name="connsiteY4" fmla="*/ 77872 h 1829007"/>
              <a:gd name="connsiteX5" fmla="*/ 153315 w 1224656"/>
              <a:gd name="connsiteY5" fmla="*/ 0 h 1829007"/>
              <a:gd name="connsiteX0" fmla="*/ 1224656 w 1224656"/>
              <a:gd name="connsiteY0" fmla="*/ 1829007 h 1829007"/>
              <a:gd name="connsiteX1" fmla="*/ 1154215 w 1224656"/>
              <a:gd name="connsiteY1" fmla="*/ 1758565 h 1829007"/>
              <a:gd name="connsiteX2" fmla="*/ 159544 w 1224656"/>
              <a:gd name="connsiteY2" fmla="*/ 763895 h 1829007"/>
              <a:gd name="connsiteX3" fmla="*/ 89744 w 1224656"/>
              <a:gd name="connsiteY3" fmla="*/ 77872 h 1829007"/>
              <a:gd name="connsiteX4" fmla="*/ 153315 w 1224656"/>
              <a:gd name="connsiteY4" fmla="*/ 0 h 182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656" h="1829007">
                <a:moveTo>
                  <a:pt x="1224656" y="1829007"/>
                </a:moveTo>
                <a:lnTo>
                  <a:pt x="1154215" y="1758565"/>
                </a:lnTo>
                <a:lnTo>
                  <a:pt x="159544" y="763895"/>
                </a:lnTo>
                <a:cubicBezTo>
                  <a:pt x="-26590" y="577761"/>
                  <a:pt x="-49857" y="289530"/>
                  <a:pt x="89744" y="77872"/>
                </a:cubicBezTo>
                <a:lnTo>
                  <a:pt x="153315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0699829-9421-BC32-D008-18D3C6101425}"/>
              </a:ext>
            </a:extLst>
          </p:cNvPr>
          <p:cNvSpPr>
            <a:spLocks/>
          </p:cNvSpPr>
          <p:nvPr userDrawn="1"/>
        </p:nvSpPr>
        <p:spPr bwMode="auto">
          <a:xfrm rot="2700000">
            <a:off x="9141640" y="1040337"/>
            <a:ext cx="3187991" cy="3194255"/>
          </a:xfrm>
          <a:custGeom>
            <a:avLst/>
            <a:gdLst>
              <a:gd name="connsiteX0" fmla="*/ 159586 w 3187991"/>
              <a:gd name="connsiteY0" fmla="*/ 159586 h 3194255"/>
              <a:gd name="connsiteX1" fmla="*/ 544860 w 3187991"/>
              <a:gd name="connsiteY1" fmla="*/ 0 h 3194255"/>
              <a:gd name="connsiteX2" fmla="*/ 2056479 w 3187991"/>
              <a:gd name="connsiteY2" fmla="*/ 0 h 3194255"/>
              <a:gd name="connsiteX3" fmla="*/ 3187991 w 3187991"/>
              <a:gd name="connsiteY3" fmla="*/ 1131513 h 3194255"/>
              <a:gd name="connsiteX4" fmla="*/ 3187991 w 3187991"/>
              <a:gd name="connsiteY4" fmla="*/ 2649395 h 3194255"/>
              <a:gd name="connsiteX5" fmla="*/ 2643131 w 3187991"/>
              <a:gd name="connsiteY5" fmla="*/ 3194255 h 3194255"/>
              <a:gd name="connsiteX6" fmla="*/ 544860 w 3187991"/>
              <a:gd name="connsiteY6" fmla="*/ 3194255 h 3194255"/>
              <a:gd name="connsiteX7" fmla="*/ 0 w 3187991"/>
              <a:gd name="connsiteY7" fmla="*/ 2649395 h 3194255"/>
              <a:gd name="connsiteX8" fmla="*/ 0 w 3187991"/>
              <a:gd name="connsiteY8" fmla="*/ 544860 h 3194255"/>
              <a:gd name="connsiteX9" fmla="*/ 159586 w 3187991"/>
              <a:gd name="connsiteY9" fmla="*/ 159586 h 3194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7991" h="3194255">
                <a:moveTo>
                  <a:pt x="159586" y="159586"/>
                </a:moveTo>
                <a:cubicBezTo>
                  <a:pt x="258186" y="60985"/>
                  <a:pt x="394401" y="0"/>
                  <a:pt x="544860" y="0"/>
                </a:cubicBezTo>
                <a:lnTo>
                  <a:pt x="2056479" y="0"/>
                </a:lnTo>
                <a:lnTo>
                  <a:pt x="3187991" y="1131513"/>
                </a:lnTo>
                <a:lnTo>
                  <a:pt x="3187991" y="2649395"/>
                </a:lnTo>
                <a:cubicBezTo>
                  <a:pt x="3187991" y="2950313"/>
                  <a:pt x="2944049" y="3194255"/>
                  <a:pt x="2643131" y="3194255"/>
                </a:cubicBezTo>
                <a:lnTo>
                  <a:pt x="544860" y="3194255"/>
                </a:lnTo>
                <a:cubicBezTo>
                  <a:pt x="243942" y="3194255"/>
                  <a:pt x="0" y="2950313"/>
                  <a:pt x="0" y="2649395"/>
                </a:cubicBezTo>
                <a:lnTo>
                  <a:pt x="0" y="544860"/>
                </a:lnTo>
                <a:cubicBezTo>
                  <a:pt x="0" y="394401"/>
                  <a:pt x="60985" y="258186"/>
                  <a:pt x="159586" y="1595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9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>
            <a:spLocks/>
          </p:cNvSpPr>
          <p:nvPr userDrawn="1"/>
        </p:nvSpPr>
        <p:spPr>
          <a:xfrm rot="2700000">
            <a:off x="8997003" y="-456334"/>
            <a:ext cx="1658711" cy="544391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8CB6CB-17D6-9423-37F8-6EFC4880AEC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1741713"/>
            <a:ext cx="5071843" cy="337457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A16036-B78E-0275-6CA7-911DE4060426}"/>
              </a:ext>
            </a:extLst>
          </p:cNvPr>
          <p:cNvSpPr>
            <a:spLocks/>
          </p:cNvSpPr>
          <p:nvPr userDrawn="1"/>
        </p:nvSpPr>
        <p:spPr>
          <a:xfrm rot="2700000">
            <a:off x="9736981" y="3459243"/>
            <a:ext cx="1658711" cy="3580309"/>
          </a:xfrm>
          <a:prstGeom prst="roundRect">
            <a:avLst>
              <a:gd name="adj" fmla="val 50000"/>
            </a:avLst>
          </a:pr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B13D00-4BF1-FD01-6A9F-B1CBB0812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AE586FF-C25B-AF33-5F15-454F206B53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40637" y="1828800"/>
            <a:ext cx="4551363" cy="35814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9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5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609600"/>
            <a:ext cx="6202680" cy="4678205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89AB6EA-4B7F-D626-10ED-8532995C4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480E36D-D806-7D05-D8DC-4ADC176E28F1}"/>
              </a:ext>
            </a:extLst>
          </p:cNvPr>
          <p:cNvSpPr/>
          <p:nvPr userDrawn="1"/>
        </p:nvSpPr>
        <p:spPr>
          <a:xfrm rot="13473600">
            <a:off x="9007218" y="-739919"/>
            <a:ext cx="2599744" cy="5533217"/>
          </a:xfrm>
          <a:custGeom>
            <a:avLst/>
            <a:gdLst>
              <a:gd name="connsiteX0" fmla="*/ 1378880 w 2599744"/>
              <a:gd name="connsiteY0" fmla="*/ 5533217 h 5533217"/>
              <a:gd name="connsiteX1" fmla="*/ 0 w 2599744"/>
              <a:gd name="connsiteY1" fmla="*/ 4132994 h 5533217"/>
              <a:gd name="connsiteX2" fmla="*/ 0 w 2599744"/>
              <a:gd name="connsiteY2" fmla="*/ 1299873 h 5533217"/>
              <a:gd name="connsiteX3" fmla="*/ 1299872 w 2599744"/>
              <a:gd name="connsiteY3" fmla="*/ 0 h 5533217"/>
              <a:gd name="connsiteX4" fmla="*/ 2599744 w 2599744"/>
              <a:gd name="connsiteY4" fmla="*/ 1299872 h 5533217"/>
              <a:gd name="connsiteX5" fmla="*/ 2599744 w 2599744"/>
              <a:gd name="connsiteY5" fmla="*/ 4330962 h 55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9744" h="5533217">
                <a:moveTo>
                  <a:pt x="1378880" y="5533217"/>
                </a:moveTo>
                <a:lnTo>
                  <a:pt x="0" y="4132994"/>
                </a:lnTo>
                <a:lnTo>
                  <a:pt x="0" y="1299873"/>
                </a:lnTo>
                <a:cubicBezTo>
                  <a:pt x="0" y="581972"/>
                  <a:pt x="581972" y="0"/>
                  <a:pt x="1299872" y="0"/>
                </a:cubicBezTo>
                <a:cubicBezTo>
                  <a:pt x="2017771" y="0"/>
                  <a:pt x="2599744" y="581973"/>
                  <a:pt x="2599744" y="1299872"/>
                </a:cubicBezTo>
                <a:lnTo>
                  <a:pt x="2599744" y="43309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9252B4-99CA-3419-840E-DA516CC6BEBB}"/>
              </a:ext>
            </a:extLst>
          </p:cNvPr>
          <p:cNvSpPr/>
          <p:nvPr userDrawn="1"/>
        </p:nvSpPr>
        <p:spPr>
          <a:xfrm rot="20457708">
            <a:off x="11186621" y="-13688"/>
            <a:ext cx="660198" cy="358286"/>
          </a:xfrm>
          <a:custGeom>
            <a:avLst/>
            <a:gdLst>
              <a:gd name="connsiteX0" fmla="*/ 318178 w 660198"/>
              <a:gd name="connsiteY0" fmla="*/ 0 h 358286"/>
              <a:gd name="connsiteX1" fmla="*/ 660198 w 660198"/>
              <a:gd name="connsiteY1" fmla="*/ 118023 h 358286"/>
              <a:gd name="connsiteX2" fmla="*/ 229425 w 660198"/>
              <a:gd name="connsiteY2" fmla="*/ 330222 h 358286"/>
              <a:gd name="connsiteX3" fmla="*/ 13408 w 660198"/>
              <a:gd name="connsiteY3" fmla="*/ 296211 h 358286"/>
              <a:gd name="connsiteX4" fmla="*/ 11570 w 660198"/>
              <a:gd name="connsiteY4" fmla="*/ 291615 h 358286"/>
              <a:gd name="connsiteX5" fmla="*/ 116362 w 660198"/>
              <a:gd name="connsiteY5" fmla="*/ 99498 h 35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198" h="358286">
                <a:moveTo>
                  <a:pt x="318178" y="0"/>
                </a:moveTo>
                <a:lnTo>
                  <a:pt x="660198" y="118023"/>
                </a:lnTo>
                <a:lnTo>
                  <a:pt x="229425" y="330222"/>
                </a:lnTo>
                <a:cubicBezTo>
                  <a:pt x="69481" y="409276"/>
                  <a:pt x="13408" y="296211"/>
                  <a:pt x="13408" y="296211"/>
                </a:cubicBezTo>
                <a:lnTo>
                  <a:pt x="11570" y="291615"/>
                </a:lnTo>
                <a:cubicBezTo>
                  <a:pt x="-43583" y="178552"/>
                  <a:pt x="116362" y="99498"/>
                  <a:pt x="116362" y="9949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BAC8301-D0B3-F09B-8934-4C4BF853D744}"/>
              </a:ext>
            </a:extLst>
          </p:cNvPr>
          <p:cNvSpPr/>
          <p:nvPr userDrawn="1"/>
        </p:nvSpPr>
        <p:spPr>
          <a:xfrm rot="2700000">
            <a:off x="9373836" y="-702513"/>
            <a:ext cx="780382" cy="2913053"/>
          </a:xfrm>
          <a:custGeom>
            <a:avLst/>
            <a:gdLst>
              <a:gd name="connsiteX0" fmla="*/ 0 w 780382"/>
              <a:gd name="connsiteY0" fmla="*/ 780382 h 2913053"/>
              <a:gd name="connsiteX1" fmla="*/ 780382 w 780382"/>
              <a:gd name="connsiteY1" fmla="*/ 0 h 2913053"/>
              <a:gd name="connsiteX2" fmla="*/ 780382 w 780382"/>
              <a:gd name="connsiteY2" fmla="*/ 2522862 h 2913053"/>
              <a:gd name="connsiteX3" fmla="*/ 390191 w 780382"/>
              <a:gd name="connsiteY3" fmla="*/ 2913053 h 2913053"/>
              <a:gd name="connsiteX4" fmla="*/ 0 w 780382"/>
              <a:gd name="connsiteY4" fmla="*/ 2522862 h 291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82" h="2913053">
                <a:moveTo>
                  <a:pt x="0" y="780382"/>
                </a:moveTo>
                <a:lnTo>
                  <a:pt x="780382" y="0"/>
                </a:lnTo>
                <a:lnTo>
                  <a:pt x="780382" y="2522862"/>
                </a:lnTo>
                <a:cubicBezTo>
                  <a:pt x="780382" y="2738359"/>
                  <a:pt x="605688" y="2913053"/>
                  <a:pt x="390191" y="2913053"/>
                </a:cubicBezTo>
                <a:cubicBezTo>
                  <a:pt x="174694" y="2913053"/>
                  <a:pt x="0" y="2738359"/>
                  <a:pt x="0" y="252286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03DB20-CA44-5144-7694-2FBF81D0EACA}"/>
              </a:ext>
            </a:extLst>
          </p:cNvPr>
          <p:cNvSpPr/>
          <p:nvPr userDrawn="1"/>
        </p:nvSpPr>
        <p:spPr>
          <a:xfrm rot="2700000">
            <a:off x="11469147" y="2339446"/>
            <a:ext cx="1193519" cy="1550166"/>
          </a:xfrm>
          <a:custGeom>
            <a:avLst/>
            <a:gdLst>
              <a:gd name="connsiteX0" fmla="*/ 0 w 1193519"/>
              <a:gd name="connsiteY0" fmla="*/ 0 h 1550166"/>
              <a:gd name="connsiteX1" fmla="*/ 1193519 w 1193519"/>
              <a:gd name="connsiteY1" fmla="*/ 1193519 h 1550166"/>
              <a:gd name="connsiteX2" fmla="*/ 1150445 w 1193519"/>
              <a:gd name="connsiteY2" fmla="*/ 1272877 h 1550166"/>
              <a:gd name="connsiteX3" fmla="*/ 628928 w 1193519"/>
              <a:gd name="connsiteY3" fmla="*/ 1550166 h 1550166"/>
              <a:gd name="connsiteX4" fmla="*/ 0 w 1193519"/>
              <a:gd name="connsiteY4" fmla="*/ 921238 h 1550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3519" h="1550166">
                <a:moveTo>
                  <a:pt x="0" y="0"/>
                </a:moveTo>
                <a:lnTo>
                  <a:pt x="1193519" y="1193519"/>
                </a:lnTo>
                <a:lnTo>
                  <a:pt x="1150445" y="1272877"/>
                </a:lnTo>
                <a:cubicBezTo>
                  <a:pt x="1037422" y="1440173"/>
                  <a:pt x="846020" y="1550166"/>
                  <a:pt x="628928" y="1550166"/>
                </a:cubicBezTo>
                <a:cubicBezTo>
                  <a:pt x="281581" y="1550166"/>
                  <a:pt x="0" y="1268585"/>
                  <a:pt x="0" y="921238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28983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6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971393-FE1D-3B6A-5952-3200539F4C21}"/>
              </a:ext>
            </a:extLst>
          </p:cNvPr>
          <p:cNvSpPr/>
          <p:nvPr userDrawn="1"/>
        </p:nvSpPr>
        <p:spPr>
          <a:xfrm rot="18900000">
            <a:off x="9590939" y="-1090570"/>
            <a:ext cx="3074362" cy="4401184"/>
          </a:xfrm>
          <a:custGeom>
            <a:avLst/>
            <a:gdLst>
              <a:gd name="connsiteX0" fmla="*/ 906398 w 3074362"/>
              <a:gd name="connsiteY0" fmla="*/ 0 h 4401184"/>
              <a:gd name="connsiteX1" fmla="*/ 3074362 w 3074362"/>
              <a:gd name="connsiteY1" fmla="*/ 2167965 h 4401184"/>
              <a:gd name="connsiteX2" fmla="*/ 841143 w 3074362"/>
              <a:gd name="connsiteY2" fmla="*/ 4401184 h 4401184"/>
              <a:gd name="connsiteX3" fmla="*/ 334666 w 3074362"/>
              <a:gd name="connsiteY3" fmla="*/ 4401184 h 4401184"/>
              <a:gd name="connsiteX4" fmla="*/ 0 w 3074362"/>
              <a:gd name="connsiteY4" fmla="*/ 4066518 h 4401184"/>
              <a:gd name="connsiteX5" fmla="*/ 0 w 3074362"/>
              <a:gd name="connsiteY5" fmla="*/ 334667 h 4401184"/>
              <a:gd name="connsiteX6" fmla="*/ 334666 w 3074362"/>
              <a:gd name="connsiteY6" fmla="*/ 0 h 4401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4362" h="4401184">
                <a:moveTo>
                  <a:pt x="906398" y="0"/>
                </a:moveTo>
                <a:lnTo>
                  <a:pt x="3074362" y="2167965"/>
                </a:lnTo>
                <a:lnTo>
                  <a:pt x="841143" y="4401184"/>
                </a:lnTo>
                <a:lnTo>
                  <a:pt x="334666" y="4401184"/>
                </a:lnTo>
                <a:cubicBezTo>
                  <a:pt x="149835" y="4401184"/>
                  <a:pt x="0" y="4251349"/>
                  <a:pt x="0" y="4066518"/>
                </a:cubicBezTo>
                <a:lnTo>
                  <a:pt x="0" y="334667"/>
                </a:lnTo>
                <a:cubicBezTo>
                  <a:pt x="0" y="149835"/>
                  <a:pt x="149835" y="0"/>
                  <a:pt x="334666" y="0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A9D7148-A6F2-CBCC-1252-9028ED2C858C}"/>
              </a:ext>
            </a:extLst>
          </p:cNvPr>
          <p:cNvSpPr/>
          <p:nvPr userDrawn="1"/>
        </p:nvSpPr>
        <p:spPr>
          <a:xfrm rot="2700000">
            <a:off x="6613319" y="-912201"/>
            <a:ext cx="3072335" cy="3072335"/>
          </a:xfrm>
          <a:custGeom>
            <a:avLst/>
            <a:gdLst>
              <a:gd name="connsiteX0" fmla="*/ 0 w 2777410"/>
              <a:gd name="connsiteY0" fmla="*/ 1975810 h 2777410"/>
              <a:gd name="connsiteX1" fmla="*/ 1975810 w 2777410"/>
              <a:gd name="connsiteY1" fmla="*/ 0 h 2777410"/>
              <a:gd name="connsiteX2" fmla="*/ 2540164 w 2777410"/>
              <a:gd name="connsiteY2" fmla="*/ 0 h 2777410"/>
              <a:gd name="connsiteX3" fmla="*/ 2777410 w 2777410"/>
              <a:gd name="connsiteY3" fmla="*/ 237247 h 2777410"/>
              <a:gd name="connsiteX4" fmla="*/ 2777410 w 2777410"/>
              <a:gd name="connsiteY4" fmla="*/ 2540163 h 2777410"/>
              <a:gd name="connsiteX5" fmla="*/ 2540163 w 2777410"/>
              <a:gd name="connsiteY5" fmla="*/ 2777410 h 2777410"/>
              <a:gd name="connsiteX6" fmla="*/ 237247 w 2777410"/>
              <a:gd name="connsiteY6" fmla="*/ 2777410 h 2777410"/>
              <a:gd name="connsiteX7" fmla="*/ 0 w 2777410"/>
              <a:gd name="connsiteY7" fmla="*/ 2540163 h 2777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7410" h="2777410">
                <a:moveTo>
                  <a:pt x="0" y="1975810"/>
                </a:moveTo>
                <a:lnTo>
                  <a:pt x="1975810" y="0"/>
                </a:lnTo>
                <a:lnTo>
                  <a:pt x="2540164" y="0"/>
                </a:lnTo>
                <a:cubicBezTo>
                  <a:pt x="2671191" y="0"/>
                  <a:pt x="2777410" y="106219"/>
                  <a:pt x="2777410" y="237247"/>
                </a:cubicBezTo>
                <a:lnTo>
                  <a:pt x="2777410" y="2540163"/>
                </a:lnTo>
                <a:cubicBezTo>
                  <a:pt x="2777410" y="2671191"/>
                  <a:pt x="2671191" y="2777410"/>
                  <a:pt x="2540163" y="2777410"/>
                </a:cubicBezTo>
                <a:lnTo>
                  <a:pt x="237247" y="2777410"/>
                </a:lnTo>
                <a:cubicBezTo>
                  <a:pt x="106220" y="2777410"/>
                  <a:pt x="0" y="2671190"/>
                  <a:pt x="0" y="2540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74CF-7CCB-20DD-E6E1-8A9CD0E03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67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74CF-7CCB-20DD-E6E1-8A9CD0E03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3DC1846-D39B-50FF-487A-FD15579093A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613608" y="2049693"/>
            <a:ext cx="5593080" cy="275861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FA3B847E-CEDD-4F28-13DA-54DB86046169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8579893" y="133677"/>
            <a:ext cx="2515488" cy="2515488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3">
            <a:extLst>
              <a:ext uri="{FF2B5EF4-FFF2-40B4-BE49-F238E27FC236}">
                <a16:creationId xmlns:a16="http://schemas.microsoft.com/office/drawing/2014/main" id="{0BB57922-089B-617B-DB05-C881EA21986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 rot="16200000">
            <a:off x="7666727" y="-76160"/>
            <a:ext cx="4560732" cy="465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06C75E6-2F25-C869-52E2-8C5D355F51AF}"/>
              </a:ext>
            </a:extLst>
          </p:cNvPr>
          <p:cNvSpPr>
            <a:spLocks/>
          </p:cNvSpPr>
          <p:nvPr userDrawn="1"/>
        </p:nvSpPr>
        <p:spPr bwMode="auto">
          <a:xfrm rot="18900000">
            <a:off x="8399071" y="-1421668"/>
            <a:ext cx="2843336" cy="2843336"/>
          </a:xfrm>
          <a:custGeom>
            <a:avLst/>
            <a:gdLst>
              <a:gd name="connsiteX0" fmla="*/ 0 w 2843336"/>
              <a:gd name="connsiteY0" fmla="*/ 0 h 2843336"/>
              <a:gd name="connsiteX1" fmla="*/ 2843336 w 2843336"/>
              <a:gd name="connsiteY1" fmla="*/ 2843336 h 2843336"/>
              <a:gd name="connsiteX2" fmla="*/ 268488 w 2843336"/>
              <a:gd name="connsiteY2" fmla="*/ 2843336 h 2843336"/>
              <a:gd name="connsiteX3" fmla="*/ 0 w 2843336"/>
              <a:gd name="connsiteY3" fmla="*/ 2585131 h 2843336"/>
              <a:gd name="connsiteX0" fmla="*/ 2843336 w 2934776"/>
              <a:gd name="connsiteY0" fmla="*/ 2843336 h 2934776"/>
              <a:gd name="connsiteX1" fmla="*/ 268488 w 2934776"/>
              <a:gd name="connsiteY1" fmla="*/ 2843336 h 2934776"/>
              <a:gd name="connsiteX2" fmla="*/ 0 w 2934776"/>
              <a:gd name="connsiteY2" fmla="*/ 2585131 h 2934776"/>
              <a:gd name="connsiteX3" fmla="*/ 0 w 2934776"/>
              <a:gd name="connsiteY3" fmla="*/ 0 h 2934776"/>
              <a:gd name="connsiteX4" fmla="*/ 2934776 w 2934776"/>
              <a:gd name="connsiteY4" fmla="*/ 2934776 h 2934776"/>
              <a:gd name="connsiteX0" fmla="*/ 2843336 w 2843336"/>
              <a:gd name="connsiteY0" fmla="*/ 2843336 h 2843336"/>
              <a:gd name="connsiteX1" fmla="*/ 268488 w 2843336"/>
              <a:gd name="connsiteY1" fmla="*/ 2843336 h 2843336"/>
              <a:gd name="connsiteX2" fmla="*/ 0 w 2843336"/>
              <a:gd name="connsiteY2" fmla="*/ 2585131 h 2843336"/>
              <a:gd name="connsiteX3" fmla="*/ 0 w 2843336"/>
              <a:gd name="connsiteY3" fmla="*/ 0 h 284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3336" h="2843336">
                <a:moveTo>
                  <a:pt x="2843336" y="2843336"/>
                </a:moveTo>
                <a:lnTo>
                  <a:pt x="268488" y="2843336"/>
                </a:lnTo>
                <a:cubicBezTo>
                  <a:pt x="120207" y="2843336"/>
                  <a:pt x="0" y="2727734"/>
                  <a:pt x="0" y="2585131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10C533-42F2-F66F-9D74-979D4CA2EB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85" y="5760594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18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024-07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9BE82380-4E70-46AE-92D4-098EF815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3608" y="1786095"/>
            <a:ext cx="5071843" cy="328581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 title are 36pt Arial Bold sentence cas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D67CFEF-F865-1F9D-9E2C-67AFFAA0CE63}"/>
              </a:ext>
            </a:extLst>
          </p:cNvPr>
          <p:cNvSpPr/>
          <p:nvPr userDrawn="1"/>
        </p:nvSpPr>
        <p:spPr>
          <a:xfrm rot="900000">
            <a:off x="10293886" y="-208160"/>
            <a:ext cx="964663" cy="4890833"/>
          </a:xfrm>
          <a:custGeom>
            <a:avLst/>
            <a:gdLst>
              <a:gd name="connsiteX0" fmla="*/ 0 w 964663"/>
              <a:gd name="connsiteY0" fmla="*/ 258480 h 4890833"/>
              <a:gd name="connsiteX1" fmla="*/ 964663 w 964663"/>
              <a:gd name="connsiteY1" fmla="*/ 0 h 4890833"/>
              <a:gd name="connsiteX2" fmla="*/ 964663 w 964663"/>
              <a:gd name="connsiteY2" fmla="*/ 4408501 h 4890833"/>
              <a:gd name="connsiteX3" fmla="*/ 482331 w 964663"/>
              <a:gd name="connsiteY3" fmla="*/ 4890833 h 4890833"/>
              <a:gd name="connsiteX4" fmla="*/ 482332 w 964663"/>
              <a:gd name="connsiteY4" fmla="*/ 4890832 h 4890833"/>
              <a:gd name="connsiteX5" fmla="*/ 0 w 964663"/>
              <a:gd name="connsiteY5" fmla="*/ 4408500 h 4890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4663" h="4890833">
                <a:moveTo>
                  <a:pt x="0" y="258480"/>
                </a:moveTo>
                <a:lnTo>
                  <a:pt x="964663" y="0"/>
                </a:lnTo>
                <a:lnTo>
                  <a:pt x="964663" y="4408501"/>
                </a:lnTo>
                <a:cubicBezTo>
                  <a:pt x="964663" y="4674886"/>
                  <a:pt x="748716" y="4890833"/>
                  <a:pt x="482331" y="4890833"/>
                </a:cubicBezTo>
                <a:lnTo>
                  <a:pt x="482332" y="4890832"/>
                </a:lnTo>
                <a:cubicBezTo>
                  <a:pt x="215947" y="4890832"/>
                  <a:pt x="0" y="4674885"/>
                  <a:pt x="0" y="4408500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BD764AA-01FA-C186-C3E0-47B71F33D2FE}"/>
              </a:ext>
            </a:extLst>
          </p:cNvPr>
          <p:cNvSpPr/>
          <p:nvPr userDrawn="1"/>
        </p:nvSpPr>
        <p:spPr>
          <a:xfrm rot="900000">
            <a:off x="10213216" y="2788075"/>
            <a:ext cx="964664" cy="4267468"/>
          </a:xfrm>
          <a:custGeom>
            <a:avLst/>
            <a:gdLst>
              <a:gd name="connsiteX0" fmla="*/ 385125 w 964664"/>
              <a:gd name="connsiteY0" fmla="*/ 9799 h 4267468"/>
              <a:gd name="connsiteX1" fmla="*/ 482332 w 964664"/>
              <a:gd name="connsiteY1" fmla="*/ 0 h 4267468"/>
              <a:gd name="connsiteX2" fmla="*/ 964664 w 964664"/>
              <a:gd name="connsiteY2" fmla="*/ 482332 h 4267468"/>
              <a:gd name="connsiteX3" fmla="*/ 964663 w 964664"/>
              <a:gd name="connsiteY3" fmla="*/ 4008987 h 4267468"/>
              <a:gd name="connsiteX4" fmla="*/ 0 w 964664"/>
              <a:gd name="connsiteY4" fmla="*/ 4267468 h 4267468"/>
              <a:gd name="connsiteX5" fmla="*/ 0 w 964664"/>
              <a:gd name="connsiteY5" fmla="*/ 482332 h 4267468"/>
              <a:gd name="connsiteX6" fmla="*/ 385125 w 964664"/>
              <a:gd name="connsiteY6" fmla="*/ 9799 h 4267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4664" h="4267468">
                <a:moveTo>
                  <a:pt x="385125" y="9799"/>
                </a:moveTo>
                <a:cubicBezTo>
                  <a:pt x="416524" y="3374"/>
                  <a:pt x="449033" y="0"/>
                  <a:pt x="482332" y="0"/>
                </a:cubicBezTo>
                <a:cubicBezTo>
                  <a:pt x="748717" y="0"/>
                  <a:pt x="964664" y="215947"/>
                  <a:pt x="964664" y="482332"/>
                </a:cubicBezTo>
                <a:lnTo>
                  <a:pt x="964663" y="4008987"/>
                </a:lnTo>
                <a:lnTo>
                  <a:pt x="0" y="4267468"/>
                </a:lnTo>
                <a:lnTo>
                  <a:pt x="0" y="482332"/>
                </a:lnTo>
                <a:cubicBezTo>
                  <a:pt x="0" y="249245"/>
                  <a:pt x="165334" y="54775"/>
                  <a:pt x="385125" y="979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F09451-D001-7FD7-10AE-3FDD420C1A42}"/>
              </a:ext>
            </a:extLst>
          </p:cNvPr>
          <p:cNvCxnSpPr>
            <a:cxnSpLocks/>
          </p:cNvCxnSpPr>
          <p:nvPr userDrawn="1"/>
        </p:nvCxnSpPr>
        <p:spPr>
          <a:xfrm flipH="1">
            <a:off x="9810345" y="1"/>
            <a:ext cx="1794438" cy="685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1C1E0A2-F05B-FF80-96D1-66F6D9FFB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7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4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9141FD9-B1AB-9467-AE12-61BD0B9D32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A3E6B8-401F-4894-EFB9-D9735958D8E8}"/>
              </a:ext>
            </a:extLst>
          </p:cNvPr>
          <p:cNvSpPr/>
          <p:nvPr userDrawn="1"/>
        </p:nvSpPr>
        <p:spPr>
          <a:xfrm rot="2700000">
            <a:off x="9723652" y="4718086"/>
            <a:ext cx="1514141" cy="3134243"/>
          </a:xfrm>
          <a:custGeom>
            <a:avLst/>
            <a:gdLst>
              <a:gd name="connsiteX0" fmla="*/ 0 w 1514141"/>
              <a:gd name="connsiteY0" fmla="*/ 1514140 h 3134243"/>
              <a:gd name="connsiteX1" fmla="*/ 1514140 w 1514141"/>
              <a:gd name="connsiteY1" fmla="*/ 0 h 3134243"/>
              <a:gd name="connsiteX2" fmla="*/ 1514141 w 1514141"/>
              <a:gd name="connsiteY2" fmla="*/ 1620102 h 3134243"/>
              <a:gd name="connsiteX3" fmla="*/ 0 w 1514141"/>
              <a:gd name="connsiteY3" fmla="*/ 3134243 h 3134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141" h="3134243">
                <a:moveTo>
                  <a:pt x="0" y="1514140"/>
                </a:moveTo>
                <a:lnTo>
                  <a:pt x="1514140" y="0"/>
                </a:lnTo>
                <a:lnTo>
                  <a:pt x="1514141" y="1620102"/>
                </a:lnTo>
                <a:lnTo>
                  <a:pt x="0" y="3134243"/>
                </a:ln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B254E66-5B23-8376-EA6C-51BA078AD05B}"/>
              </a:ext>
            </a:extLst>
          </p:cNvPr>
          <p:cNvSpPr/>
          <p:nvPr userDrawn="1"/>
        </p:nvSpPr>
        <p:spPr>
          <a:xfrm rot="13500000">
            <a:off x="9484269" y="5130635"/>
            <a:ext cx="651476" cy="1447800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8B1F425-7FCC-95EC-889D-1C469BA8156D}"/>
              </a:ext>
            </a:extLst>
          </p:cNvPr>
          <p:cNvSpPr/>
          <p:nvPr userDrawn="1"/>
        </p:nvSpPr>
        <p:spPr>
          <a:xfrm rot="2700000">
            <a:off x="8432799" y="-404009"/>
            <a:ext cx="1987250" cy="6522188"/>
          </a:xfrm>
          <a:custGeom>
            <a:avLst/>
            <a:gdLst>
              <a:gd name="connsiteX0" fmla="*/ 291026 w 1987250"/>
              <a:gd name="connsiteY0" fmla="*/ 291026 h 6522188"/>
              <a:gd name="connsiteX1" fmla="*/ 993625 w 1987250"/>
              <a:gd name="connsiteY1" fmla="*/ 0 h 6522188"/>
              <a:gd name="connsiteX2" fmla="*/ 1987250 w 1987250"/>
              <a:gd name="connsiteY2" fmla="*/ 993625 h 6522188"/>
              <a:gd name="connsiteX3" fmla="*/ 1987250 w 1987250"/>
              <a:gd name="connsiteY3" fmla="*/ 5536869 h 6522188"/>
              <a:gd name="connsiteX4" fmla="*/ 1001931 w 1987250"/>
              <a:gd name="connsiteY4" fmla="*/ 6522188 h 6522188"/>
              <a:gd name="connsiteX5" fmla="*/ 0 w 1987250"/>
              <a:gd name="connsiteY5" fmla="*/ 5520256 h 6522188"/>
              <a:gd name="connsiteX6" fmla="*/ 0 w 1987250"/>
              <a:gd name="connsiteY6" fmla="*/ 993625 h 6522188"/>
              <a:gd name="connsiteX7" fmla="*/ 291026 w 1987250"/>
              <a:gd name="connsiteY7" fmla="*/ 291026 h 652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7250" h="6522188">
                <a:moveTo>
                  <a:pt x="291026" y="291026"/>
                </a:moveTo>
                <a:cubicBezTo>
                  <a:pt x="470837" y="111215"/>
                  <a:pt x="719243" y="0"/>
                  <a:pt x="993625" y="0"/>
                </a:cubicBezTo>
                <a:cubicBezTo>
                  <a:pt x="1542389" y="0"/>
                  <a:pt x="1987250" y="444861"/>
                  <a:pt x="1987250" y="993625"/>
                </a:cubicBezTo>
                <a:lnTo>
                  <a:pt x="1987250" y="5536869"/>
                </a:lnTo>
                <a:lnTo>
                  <a:pt x="1001931" y="6522188"/>
                </a:lnTo>
                <a:lnTo>
                  <a:pt x="0" y="5520256"/>
                </a:lnTo>
                <a:lnTo>
                  <a:pt x="0" y="993625"/>
                </a:lnTo>
                <a:cubicBezTo>
                  <a:pt x="0" y="719243"/>
                  <a:pt x="111216" y="470837"/>
                  <a:pt x="291026" y="2910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3108861-7328-DB12-4F81-BB23B928A631}"/>
              </a:ext>
            </a:extLst>
          </p:cNvPr>
          <p:cNvSpPr/>
          <p:nvPr userDrawn="1"/>
        </p:nvSpPr>
        <p:spPr>
          <a:xfrm rot="2700000">
            <a:off x="9121183" y="103638"/>
            <a:ext cx="651476" cy="2492719"/>
          </a:xfrm>
          <a:prstGeom prst="round2SameRect">
            <a:avLst>
              <a:gd name="adj1" fmla="val 50000"/>
              <a:gd name="adj2" fmla="val 0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3CF0F-9A82-87BC-E359-747ED7A2C5E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709"/>
          <a:stretch/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EF0DFE2A-76D5-74DB-5A41-BA634A097E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5847081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02D114-3397-DC1A-7731-F1F0FFF234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5847081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279139-E1CD-417D-F2DC-0ECDF9271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983481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95ADEF-DFE7-7A95-ACDE-93A739BB8442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E79103-E87B-C357-DC48-0711CA04F4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69100" y="1511300"/>
            <a:ext cx="5422900" cy="4267200"/>
          </a:xfrm>
          <a:custGeom>
            <a:avLst/>
            <a:gdLst>
              <a:gd name="connsiteX0" fmla="*/ 374319 w 5422900"/>
              <a:gd name="connsiteY0" fmla="*/ 0 h 4267200"/>
              <a:gd name="connsiteX1" fmla="*/ 5422900 w 5422900"/>
              <a:gd name="connsiteY1" fmla="*/ 0 h 4267200"/>
              <a:gd name="connsiteX2" fmla="*/ 5422900 w 5422900"/>
              <a:gd name="connsiteY2" fmla="*/ 4267200 h 4267200"/>
              <a:gd name="connsiteX3" fmla="*/ 374319 w 5422900"/>
              <a:gd name="connsiteY3" fmla="*/ 4267200 h 4267200"/>
              <a:gd name="connsiteX4" fmla="*/ 0 w 5422900"/>
              <a:gd name="connsiteY4" fmla="*/ 3892881 h 4267200"/>
              <a:gd name="connsiteX5" fmla="*/ 0 w 5422900"/>
              <a:gd name="connsiteY5" fmla="*/ 374319 h 4267200"/>
              <a:gd name="connsiteX6" fmla="*/ 374319 w 5422900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2900" h="4267200">
                <a:moveTo>
                  <a:pt x="374319" y="0"/>
                </a:moveTo>
                <a:lnTo>
                  <a:pt x="5422900" y="0"/>
                </a:lnTo>
                <a:lnTo>
                  <a:pt x="5422900" y="4267200"/>
                </a:lnTo>
                <a:lnTo>
                  <a:pt x="374319" y="4267200"/>
                </a:lnTo>
                <a:cubicBezTo>
                  <a:pt x="167588" y="4267200"/>
                  <a:pt x="0" y="4099612"/>
                  <a:pt x="0" y="3892881"/>
                </a:cubicBezTo>
                <a:lnTo>
                  <a:pt x="0" y="374319"/>
                </a:lnTo>
                <a:cubicBezTo>
                  <a:pt x="0" y="167588"/>
                  <a:pt x="167588" y="0"/>
                  <a:pt x="374319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 b="0">
                <a:solidFill>
                  <a:srgbClr val="FF000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FF0000"/>
                </a:solidFill>
              </a:rPr>
              <a:t>Click icon to add pictur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024-05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BD574E3-8AFF-DFA9-0FCB-ACE4DACD2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574E3-8AFF-DFA9-0FCB-ACE4DACD2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5368925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5482392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5368925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274DE7C-EAB9-6B9B-19AB-DEFA4EF622D3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24A7E03-2DC4-A20C-610D-3801615F1648}"/>
              </a:ext>
            </a:extLst>
          </p:cNvPr>
          <p:cNvSpPr>
            <a:spLocks/>
          </p:cNvSpPr>
          <p:nvPr userDrawn="1"/>
        </p:nvSpPr>
        <p:spPr bwMode="auto">
          <a:xfrm>
            <a:off x="5476875" y="3219450"/>
            <a:ext cx="6711950" cy="3638550"/>
          </a:xfrm>
          <a:custGeom>
            <a:avLst/>
            <a:gdLst>
              <a:gd name="T0" fmla="*/ 2114 w 2114"/>
              <a:gd name="T1" fmla="*/ 869 h 1146"/>
              <a:gd name="T2" fmla="*/ 1306 w 2114"/>
              <a:gd name="T3" fmla="*/ 61 h 1146"/>
              <a:gd name="T4" fmla="*/ 1085 w 2114"/>
              <a:gd name="T5" fmla="*/ 61 h 1146"/>
              <a:gd name="T6" fmla="*/ 0 w 2114"/>
              <a:gd name="T7" fmla="*/ 1146 h 1146"/>
              <a:gd name="T8" fmla="*/ 2114 w 2114"/>
              <a:gd name="T9" fmla="*/ 1146 h 1146"/>
              <a:gd name="T10" fmla="*/ 2114 w 2114"/>
              <a:gd name="T11" fmla="*/ 869 h 1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4" h="1146">
                <a:moveTo>
                  <a:pt x="2114" y="869"/>
                </a:moveTo>
                <a:cubicBezTo>
                  <a:pt x="1306" y="61"/>
                  <a:pt x="1306" y="61"/>
                  <a:pt x="1306" y="61"/>
                </a:cubicBezTo>
                <a:cubicBezTo>
                  <a:pt x="1245" y="0"/>
                  <a:pt x="1146" y="0"/>
                  <a:pt x="1085" y="61"/>
                </a:cubicBezTo>
                <a:cubicBezTo>
                  <a:pt x="0" y="1146"/>
                  <a:pt x="0" y="1146"/>
                  <a:pt x="0" y="1146"/>
                </a:cubicBezTo>
                <a:cubicBezTo>
                  <a:pt x="2114" y="1146"/>
                  <a:pt x="2114" y="1146"/>
                  <a:pt x="2114" y="1146"/>
                </a:cubicBezTo>
                <a:lnTo>
                  <a:pt x="2114" y="869"/>
                </a:lnTo>
                <a:close/>
              </a:path>
            </a:pathLst>
          </a:custGeom>
          <a:solidFill>
            <a:srgbClr val="140B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85C50D-2AD0-37F1-6186-64FDA03CDB34}"/>
              </a:ext>
            </a:extLst>
          </p:cNvPr>
          <p:cNvSpPr/>
          <p:nvPr userDrawn="1"/>
        </p:nvSpPr>
        <p:spPr>
          <a:xfrm rot="2700000">
            <a:off x="7798710" y="-28189"/>
            <a:ext cx="6936059" cy="4323614"/>
          </a:xfrm>
          <a:custGeom>
            <a:avLst/>
            <a:gdLst>
              <a:gd name="connsiteX0" fmla="*/ 0 w 6936059"/>
              <a:gd name="connsiteY0" fmla="*/ 2612445 h 4323614"/>
              <a:gd name="connsiteX1" fmla="*/ 2612445 w 6936059"/>
              <a:gd name="connsiteY1" fmla="*/ 0 h 4323614"/>
              <a:gd name="connsiteX2" fmla="*/ 6936059 w 6936059"/>
              <a:gd name="connsiteY2" fmla="*/ 4323614 h 4323614"/>
              <a:gd name="connsiteX3" fmla="*/ 492439 w 6936059"/>
              <a:gd name="connsiteY3" fmla="*/ 4323614 h 4323614"/>
              <a:gd name="connsiteX4" fmla="*/ 0 w 6936059"/>
              <a:gd name="connsiteY4" fmla="*/ 3831175 h 432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6059" h="4323614">
                <a:moveTo>
                  <a:pt x="0" y="2612445"/>
                </a:moveTo>
                <a:lnTo>
                  <a:pt x="2612445" y="0"/>
                </a:lnTo>
                <a:lnTo>
                  <a:pt x="6936059" y="4323614"/>
                </a:lnTo>
                <a:lnTo>
                  <a:pt x="492439" y="4323614"/>
                </a:lnTo>
                <a:cubicBezTo>
                  <a:pt x="220472" y="4323614"/>
                  <a:pt x="1" y="4103142"/>
                  <a:pt x="0" y="3831175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FF7F7C58-163F-1881-E4D5-96FE1EF56D83}"/>
              </a:ext>
            </a:extLst>
          </p:cNvPr>
          <p:cNvSpPr>
            <a:spLocks/>
          </p:cNvSpPr>
          <p:nvPr userDrawn="1"/>
        </p:nvSpPr>
        <p:spPr bwMode="auto">
          <a:xfrm>
            <a:off x="6511925" y="737524"/>
            <a:ext cx="5368925" cy="5368925"/>
          </a:xfrm>
          <a:custGeom>
            <a:avLst/>
            <a:gdLst>
              <a:gd name="T0" fmla="*/ 724 w 1691"/>
              <a:gd name="T1" fmla="*/ 1624 h 1691"/>
              <a:gd name="T2" fmla="*/ 67 w 1691"/>
              <a:gd name="T3" fmla="*/ 967 h 1691"/>
              <a:gd name="T4" fmla="*/ 67 w 1691"/>
              <a:gd name="T5" fmla="*/ 724 h 1691"/>
              <a:gd name="T6" fmla="*/ 724 w 1691"/>
              <a:gd name="T7" fmla="*/ 67 h 1691"/>
              <a:gd name="T8" fmla="*/ 967 w 1691"/>
              <a:gd name="T9" fmla="*/ 67 h 1691"/>
              <a:gd name="T10" fmla="*/ 1624 w 1691"/>
              <a:gd name="T11" fmla="*/ 724 h 1691"/>
              <a:gd name="T12" fmla="*/ 1624 w 1691"/>
              <a:gd name="T13" fmla="*/ 967 h 1691"/>
              <a:gd name="T14" fmla="*/ 967 w 1691"/>
              <a:gd name="T15" fmla="*/ 1624 h 1691"/>
              <a:gd name="T16" fmla="*/ 724 w 1691"/>
              <a:gd name="T17" fmla="*/ 1624 h 1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1" h="1691">
                <a:moveTo>
                  <a:pt x="724" y="1624"/>
                </a:moveTo>
                <a:cubicBezTo>
                  <a:pt x="67" y="967"/>
                  <a:pt x="67" y="967"/>
                  <a:pt x="67" y="967"/>
                </a:cubicBezTo>
                <a:cubicBezTo>
                  <a:pt x="0" y="900"/>
                  <a:pt x="0" y="791"/>
                  <a:pt x="67" y="724"/>
                </a:cubicBezTo>
                <a:cubicBezTo>
                  <a:pt x="724" y="67"/>
                  <a:pt x="724" y="67"/>
                  <a:pt x="724" y="67"/>
                </a:cubicBezTo>
                <a:cubicBezTo>
                  <a:pt x="791" y="0"/>
                  <a:pt x="900" y="0"/>
                  <a:pt x="967" y="67"/>
                </a:cubicBezTo>
                <a:cubicBezTo>
                  <a:pt x="1624" y="724"/>
                  <a:pt x="1624" y="724"/>
                  <a:pt x="1624" y="724"/>
                </a:cubicBezTo>
                <a:cubicBezTo>
                  <a:pt x="1691" y="791"/>
                  <a:pt x="1691" y="900"/>
                  <a:pt x="1624" y="967"/>
                </a:cubicBezTo>
                <a:cubicBezTo>
                  <a:pt x="967" y="1624"/>
                  <a:pt x="967" y="1624"/>
                  <a:pt x="967" y="1624"/>
                </a:cubicBezTo>
                <a:cubicBezTo>
                  <a:pt x="900" y="1691"/>
                  <a:pt x="791" y="1691"/>
                  <a:pt x="724" y="1624"/>
                </a:cubicBezTo>
                <a:close/>
              </a:path>
            </a:pathLst>
          </a:custGeom>
          <a:solidFill>
            <a:srgbClr val="005587"/>
          </a:solidFill>
          <a:ln w="1270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7ADD5B-1EFD-EE84-83C7-4F7CA369A2B9}"/>
              </a:ext>
            </a:extLst>
          </p:cNvPr>
          <p:cNvSpPr/>
          <p:nvPr userDrawn="1"/>
        </p:nvSpPr>
        <p:spPr>
          <a:xfrm rot="2700000">
            <a:off x="9656180" y="878325"/>
            <a:ext cx="4632172" cy="5087323"/>
          </a:xfrm>
          <a:custGeom>
            <a:avLst/>
            <a:gdLst>
              <a:gd name="connsiteX0" fmla="*/ 0 w 4724357"/>
              <a:gd name="connsiteY0" fmla="*/ 0 h 4945592"/>
              <a:gd name="connsiteX1" fmla="*/ 4724357 w 4724357"/>
              <a:gd name="connsiteY1" fmla="*/ 4724357 h 4945592"/>
              <a:gd name="connsiteX2" fmla="*/ 4503122 w 4724357"/>
              <a:gd name="connsiteY2" fmla="*/ 4945592 h 4945592"/>
              <a:gd name="connsiteX3" fmla="*/ 607510 w 4724357"/>
              <a:gd name="connsiteY3" fmla="*/ 4945592 h 4945592"/>
              <a:gd name="connsiteX4" fmla="*/ 0 w 4724357"/>
              <a:gd name="connsiteY4" fmla="*/ 4338082 h 4945592"/>
              <a:gd name="connsiteX0" fmla="*/ 4724357 w 4815797"/>
              <a:gd name="connsiteY0" fmla="*/ 4724357 h 4945592"/>
              <a:gd name="connsiteX1" fmla="*/ 4503122 w 4815797"/>
              <a:gd name="connsiteY1" fmla="*/ 4945592 h 4945592"/>
              <a:gd name="connsiteX2" fmla="*/ 607510 w 4815797"/>
              <a:gd name="connsiteY2" fmla="*/ 4945592 h 4945592"/>
              <a:gd name="connsiteX3" fmla="*/ 0 w 4815797"/>
              <a:gd name="connsiteY3" fmla="*/ 4338082 h 4945592"/>
              <a:gd name="connsiteX4" fmla="*/ 0 w 4815797"/>
              <a:gd name="connsiteY4" fmla="*/ 0 h 4945592"/>
              <a:gd name="connsiteX5" fmla="*/ 4815797 w 4815797"/>
              <a:gd name="connsiteY5" fmla="*/ 4815797 h 4945592"/>
              <a:gd name="connsiteX0" fmla="*/ 4724357 w 4724357"/>
              <a:gd name="connsiteY0" fmla="*/ 4724357 h 4945592"/>
              <a:gd name="connsiteX1" fmla="*/ 4503122 w 4724357"/>
              <a:gd name="connsiteY1" fmla="*/ 4945592 h 4945592"/>
              <a:gd name="connsiteX2" fmla="*/ 607510 w 4724357"/>
              <a:gd name="connsiteY2" fmla="*/ 4945592 h 4945592"/>
              <a:gd name="connsiteX3" fmla="*/ 0 w 4724357"/>
              <a:gd name="connsiteY3" fmla="*/ 4338082 h 4945592"/>
              <a:gd name="connsiteX4" fmla="*/ 0 w 4724357"/>
              <a:gd name="connsiteY4" fmla="*/ 0 h 4945592"/>
              <a:gd name="connsiteX0" fmla="*/ 4503122 w 4503122"/>
              <a:gd name="connsiteY0" fmla="*/ 4945592 h 4945592"/>
              <a:gd name="connsiteX1" fmla="*/ 607510 w 4503122"/>
              <a:gd name="connsiteY1" fmla="*/ 4945592 h 4945592"/>
              <a:gd name="connsiteX2" fmla="*/ 0 w 4503122"/>
              <a:gd name="connsiteY2" fmla="*/ 4338082 h 4945592"/>
              <a:gd name="connsiteX3" fmla="*/ 0 w 4503122"/>
              <a:gd name="connsiteY3" fmla="*/ 0 h 494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3122" h="4945592">
                <a:moveTo>
                  <a:pt x="4503122" y="4945592"/>
                </a:moveTo>
                <a:lnTo>
                  <a:pt x="607510" y="4945592"/>
                </a:lnTo>
                <a:cubicBezTo>
                  <a:pt x="271991" y="4945592"/>
                  <a:pt x="0" y="4673601"/>
                  <a:pt x="0" y="4338082"/>
                </a:cubicBez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0361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024-06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39C5FB-65B4-C908-855D-2728400F9E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0000">
                <a:srgbClr val="005587"/>
              </a:gs>
              <a:gs pos="80000">
                <a:srgbClr val="00A3E0"/>
              </a:gs>
            </a:gsLst>
            <a:lin ang="27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25B56EBA-448E-C7D0-100C-AD7974D3F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3608" y="3681765"/>
            <a:ext cx="7029069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952327-FD57-A506-881F-6BEC092B82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517515"/>
            <a:ext cx="7029069" cy="1996373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5258D62-E26A-940F-71AE-1DB669277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406884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E6678B-F1D2-BAA4-8C13-157EDC257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3330" y="735457"/>
            <a:ext cx="2247900" cy="406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DB5FAB4-46B6-F50F-3686-3A652C917D56}"/>
              </a:ext>
            </a:extLst>
          </p:cNvPr>
          <p:cNvSpPr txBox="1"/>
          <p:nvPr userDrawn="1"/>
        </p:nvSpPr>
        <p:spPr bwMode="black">
          <a:xfrm>
            <a:off x="613608" y="6367152"/>
            <a:ext cx="449580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E6A72EF-4ACE-0FB5-78CD-8CB5D25D38CD}"/>
              </a:ext>
            </a:extLst>
          </p:cNvPr>
          <p:cNvSpPr/>
          <p:nvPr userDrawn="1"/>
        </p:nvSpPr>
        <p:spPr>
          <a:xfrm rot="900000">
            <a:off x="8679642" y="590047"/>
            <a:ext cx="1209408" cy="6535813"/>
          </a:xfrm>
          <a:custGeom>
            <a:avLst/>
            <a:gdLst>
              <a:gd name="connsiteX0" fmla="*/ 482835 w 1209408"/>
              <a:gd name="connsiteY0" fmla="*/ 12286 h 6535813"/>
              <a:gd name="connsiteX1" fmla="*/ 604704 w 1209408"/>
              <a:gd name="connsiteY1" fmla="*/ 0 h 6535813"/>
              <a:gd name="connsiteX2" fmla="*/ 1209408 w 1209408"/>
              <a:gd name="connsiteY2" fmla="*/ 604704 h 6535813"/>
              <a:gd name="connsiteX3" fmla="*/ 1209408 w 1209408"/>
              <a:gd name="connsiteY3" fmla="*/ 6211754 h 6535813"/>
              <a:gd name="connsiteX4" fmla="*/ 0 w 1209408"/>
              <a:gd name="connsiteY4" fmla="*/ 6535813 h 6535813"/>
              <a:gd name="connsiteX5" fmla="*/ 0 w 1209408"/>
              <a:gd name="connsiteY5" fmla="*/ 604704 h 6535813"/>
              <a:gd name="connsiteX6" fmla="*/ 482835 w 1209408"/>
              <a:gd name="connsiteY6" fmla="*/ 12286 h 6535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9408" h="6535813">
                <a:moveTo>
                  <a:pt x="482835" y="12286"/>
                </a:moveTo>
                <a:cubicBezTo>
                  <a:pt x="522200" y="4230"/>
                  <a:pt x="562958" y="0"/>
                  <a:pt x="604704" y="0"/>
                </a:cubicBezTo>
                <a:cubicBezTo>
                  <a:pt x="938673" y="0"/>
                  <a:pt x="1209408" y="270735"/>
                  <a:pt x="1209408" y="604704"/>
                </a:cubicBezTo>
                <a:lnTo>
                  <a:pt x="1209408" y="6211754"/>
                </a:lnTo>
                <a:lnTo>
                  <a:pt x="0" y="6535813"/>
                </a:lnTo>
                <a:lnTo>
                  <a:pt x="0" y="604704"/>
                </a:lnTo>
                <a:cubicBezTo>
                  <a:pt x="0" y="312481"/>
                  <a:pt x="207282" y="68672"/>
                  <a:pt x="482835" y="12286"/>
                </a:cubicBezTo>
                <a:close/>
              </a:path>
            </a:pathLst>
          </a:cu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A260F01-821A-E0DB-A6B1-B66100FC4906}"/>
              </a:ext>
            </a:extLst>
          </p:cNvPr>
          <p:cNvSpPr/>
          <p:nvPr userDrawn="1"/>
        </p:nvSpPr>
        <p:spPr>
          <a:xfrm rot="900000">
            <a:off x="10876535" y="3369355"/>
            <a:ext cx="737236" cy="3646170"/>
          </a:xfrm>
          <a:custGeom>
            <a:avLst/>
            <a:gdLst>
              <a:gd name="connsiteX0" fmla="*/ 294329 w 737236"/>
              <a:gd name="connsiteY0" fmla="*/ 7489 h 3646170"/>
              <a:gd name="connsiteX1" fmla="*/ 368618 w 737236"/>
              <a:gd name="connsiteY1" fmla="*/ 0 h 3646170"/>
              <a:gd name="connsiteX2" fmla="*/ 737236 w 737236"/>
              <a:gd name="connsiteY2" fmla="*/ 368618 h 3646170"/>
              <a:gd name="connsiteX3" fmla="*/ 737235 w 737236"/>
              <a:gd name="connsiteY3" fmla="*/ 3448629 h 3646170"/>
              <a:gd name="connsiteX4" fmla="*/ 0 w 737236"/>
              <a:gd name="connsiteY4" fmla="*/ 3646170 h 3646170"/>
              <a:gd name="connsiteX5" fmla="*/ 0 w 737236"/>
              <a:gd name="connsiteY5" fmla="*/ 368618 h 3646170"/>
              <a:gd name="connsiteX6" fmla="*/ 294329 w 737236"/>
              <a:gd name="connsiteY6" fmla="*/ 7489 h 364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36" h="3646170">
                <a:moveTo>
                  <a:pt x="294329" y="7489"/>
                </a:moveTo>
                <a:cubicBezTo>
                  <a:pt x="318325" y="2579"/>
                  <a:pt x="343170" y="0"/>
                  <a:pt x="368618" y="0"/>
                </a:cubicBezTo>
                <a:cubicBezTo>
                  <a:pt x="572200" y="0"/>
                  <a:pt x="737236" y="165036"/>
                  <a:pt x="737236" y="368618"/>
                </a:cubicBezTo>
                <a:lnTo>
                  <a:pt x="737235" y="3448629"/>
                </a:lnTo>
                <a:lnTo>
                  <a:pt x="0" y="3646170"/>
                </a:lnTo>
                <a:lnTo>
                  <a:pt x="0" y="368618"/>
                </a:lnTo>
                <a:cubicBezTo>
                  <a:pt x="1" y="190484"/>
                  <a:pt x="126356" y="41861"/>
                  <a:pt x="294329" y="7489"/>
                </a:cubicBezTo>
                <a:close/>
              </a:path>
            </a:pathLst>
          </a:custGeom>
          <a:solidFill>
            <a:srgbClr val="140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lvl="0"/>
            <a:endParaRPr lang="en-US" sz="1600" dirty="0" err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7CF9C9-26E4-4CCA-2489-EA1403AF749A}"/>
              </a:ext>
            </a:extLst>
          </p:cNvPr>
          <p:cNvCxnSpPr>
            <a:cxnSpLocks/>
          </p:cNvCxnSpPr>
          <p:nvPr userDrawn="1"/>
        </p:nvCxnSpPr>
        <p:spPr>
          <a:xfrm rot="900000" flipH="1">
            <a:off x="9695751" y="-132832"/>
            <a:ext cx="0" cy="711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6662C6-F32D-D286-E981-FFF7563738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616112" y="990600"/>
            <a:ext cx="1572166" cy="58674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58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F44744A-7370-45C0-CB74-88A57CF6C18C}"/>
              </a:ext>
            </a:extLst>
          </p:cNvPr>
          <p:cNvSpPr/>
          <p:nvPr userDrawn="1"/>
        </p:nvSpPr>
        <p:spPr>
          <a:xfrm rot="2700000">
            <a:off x="8404848" y="-676776"/>
            <a:ext cx="832104" cy="2612447"/>
          </a:xfrm>
          <a:custGeom>
            <a:avLst/>
            <a:gdLst>
              <a:gd name="connsiteX0" fmla="*/ 0 w 832104"/>
              <a:gd name="connsiteY0" fmla="*/ 832103 h 2612447"/>
              <a:gd name="connsiteX1" fmla="*/ 832104 w 832104"/>
              <a:gd name="connsiteY1" fmla="*/ 0 h 2612447"/>
              <a:gd name="connsiteX2" fmla="*/ 832104 w 832104"/>
              <a:gd name="connsiteY2" fmla="*/ 2196395 h 2612447"/>
              <a:gd name="connsiteX3" fmla="*/ 416052 w 832104"/>
              <a:gd name="connsiteY3" fmla="*/ 2612447 h 2612447"/>
              <a:gd name="connsiteX4" fmla="*/ 0 w 832104"/>
              <a:gd name="connsiteY4" fmla="*/ 2196395 h 261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04" h="2612447">
                <a:moveTo>
                  <a:pt x="0" y="832103"/>
                </a:moveTo>
                <a:lnTo>
                  <a:pt x="832104" y="0"/>
                </a:lnTo>
                <a:lnTo>
                  <a:pt x="832104" y="2196395"/>
                </a:lnTo>
                <a:cubicBezTo>
                  <a:pt x="832104" y="2426174"/>
                  <a:pt x="645831" y="2612447"/>
                  <a:pt x="416052" y="2612447"/>
                </a:cubicBezTo>
                <a:cubicBezTo>
                  <a:pt x="186273" y="2612447"/>
                  <a:pt x="0" y="2426174"/>
                  <a:pt x="0" y="2196395"/>
                </a:cubicBezTo>
                <a:close/>
              </a:path>
            </a:pathLst>
          </a:custGeom>
          <a:solidFill>
            <a:srgbClr val="7FD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EF4E02D-F7F2-65BC-9A85-BBCF1CEAB9A4}"/>
              </a:ext>
            </a:extLst>
          </p:cNvPr>
          <p:cNvSpPr/>
          <p:nvPr userDrawn="1"/>
        </p:nvSpPr>
        <p:spPr>
          <a:xfrm rot="13500000" flipH="1">
            <a:off x="10884124" y="1958347"/>
            <a:ext cx="1426821" cy="2469493"/>
          </a:xfrm>
          <a:custGeom>
            <a:avLst/>
            <a:gdLst>
              <a:gd name="connsiteX0" fmla="*/ 0 w 1867898"/>
              <a:gd name="connsiteY0" fmla="*/ 3232895 h 3232895"/>
              <a:gd name="connsiteX1" fmla="*/ 0 w 1867898"/>
              <a:gd name="connsiteY1" fmla="*/ 933949 h 3232895"/>
              <a:gd name="connsiteX2" fmla="*/ 933949 w 1867898"/>
              <a:gd name="connsiteY2" fmla="*/ 0 h 3232895"/>
              <a:gd name="connsiteX3" fmla="*/ 1867898 w 1867898"/>
              <a:gd name="connsiteY3" fmla="*/ 933949 h 3232895"/>
              <a:gd name="connsiteX4" fmla="*/ 1867898 w 1867898"/>
              <a:gd name="connsiteY4" fmla="*/ 1797199 h 3232895"/>
              <a:gd name="connsiteX5" fmla="*/ 432202 w 1867898"/>
              <a:gd name="connsiteY5" fmla="*/ 3232895 h 3232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7898" h="3232895">
                <a:moveTo>
                  <a:pt x="0" y="3232895"/>
                </a:moveTo>
                <a:lnTo>
                  <a:pt x="0" y="933949"/>
                </a:lnTo>
                <a:cubicBezTo>
                  <a:pt x="0" y="418143"/>
                  <a:pt x="418143" y="0"/>
                  <a:pt x="933949" y="0"/>
                </a:cubicBezTo>
                <a:cubicBezTo>
                  <a:pt x="1449755" y="0"/>
                  <a:pt x="1867898" y="418143"/>
                  <a:pt x="1867898" y="933949"/>
                </a:cubicBezTo>
                <a:lnTo>
                  <a:pt x="1867898" y="1797199"/>
                </a:lnTo>
                <a:lnTo>
                  <a:pt x="432202" y="32328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C069A87-C164-C434-5CEF-4ACD0B6BF8B1}"/>
              </a:ext>
            </a:extLst>
          </p:cNvPr>
          <p:cNvSpPr/>
          <p:nvPr userDrawn="1"/>
        </p:nvSpPr>
        <p:spPr>
          <a:xfrm rot="13500000" flipH="1">
            <a:off x="10658974" y="1045214"/>
            <a:ext cx="830027" cy="4013802"/>
          </a:xfrm>
          <a:custGeom>
            <a:avLst/>
            <a:gdLst>
              <a:gd name="connsiteX0" fmla="*/ 0 w 1086616"/>
              <a:gd name="connsiteY0" fmla="*/ 5254600 h 5254600"/>
              <a:gd name="connsiteX1" fmla="*/ 0 w 1086616"/>
              <a:gd name="connsiteY1" fmla="*/ 543308 h 5254600"/>
              <a:gd name="connsiteX2" fmla="*/ 543308 w 1086616"/>
              <a:gd name="connsiteY2" fmla="*/ 0 h 5254600"/>
              <a:gd name="connsiteX3" fmla="*/ 1086616 w 1086616"/>
              <a:gd name="connsiteY3" fmla="*/ 543308 h 5254600"/>
              <a:gd name="connsiteX4" fmla="*/ 1086615 w 1086616"/>
              <a:gd name="connsiteY4" fmla="*/ 4167985 h 525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616" h="5254600">
                <a:moveTo>
                  <a:pt x="0" y="5254600"/>
                </a:moveTo>
                <a:lnTo>
                  <a:pt x="0" y="543308"/>
                </a:lnTo>
                <a:cubicBezTo>
                  <a:pt x="0" y="243247"/>
                  <a:pt x="243247" y="0"/>
                  <a:pt x="543308" y="0"/>
                </a:cubicBezTo>
                <a:cubicBezTo>
                  <a:pt x="843369" y="0"/>
                  <a:pt x="1086616" y="243247"/>
                  <a:pt x="1086616" y="543308"/>
                </a:cubicBezTo>
                <a:lnTo>
                  <a:pt x="1086615" y="41679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8AFE06D-6874-9BC8-8B4C-CD00FFBB1819}"/>
              </a:ext>
            </a:extLst>
          </p:cNvPr>
          <p:cNvSpPr/>
          <p:nvPr userDrawn="1"/>
        </p:nvSpPr>
        <p:spPr>
          <a:xfrm rot="13500000" flipH="1">
            <a:off x="8610866" y="-919718"/>
            <a:ext cx="3320094" cy="4877247"/>
          </a:xfrm>
          <a:custGeom>
            <a:avLst/>
            <a:gdLst>
              <a:gd name="connsiteX0" fmla="*/ 2551539 w 4346444"/>
              <a:gd name="connsiteY0" fmla="*/ 6384965 h 6384965"/>
              <a:gd name="connsiteX1" fmla="*/ 0 w 4346444"/>
              <a:gd name="connsiteY1" fmla="*/ 3833426 h 6384965"/>
              <a:gd name="connsiteX2" fmla="*/ 0 w 4346444"/>
              <a:gd name="connsiteY2" fmla="*/ 2173222 h 6384965"/>
              <a:gd name="connsiteX3" fmla="*/ 2173222 w 4346444"/>
              <a:gd name="connsiteY3" fmla="*/ 0 h 6384965"/>
              <a:gd name="connsiteX4" fmla="*/ 4346444 w 4346444"/>
              <a:gd name="connsiteY4" fmla="*/ 2173222 h 6384965"/>
              <a:gd name="connsiteX5" fmla="*/ 4346444 w 4346444"/>
              <a:gd name="connsiteY5" fmla="*/ 4590060 h 638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6444" h="6384965">
                <a:moveTo>
                  <a:pt x="2551539" y="6384965"/>
                </a:moveTo>
                <a:lnTo>
                  <a:pt x="0" y="3833426"/>
                </a:lnTo>
                <a:lnTo>
                  <a:pt x="0" y="2173222"/>
                </a:lnTo>
                <a:cubicBezTo>
                  <a:pt x="0" y="972985"/>
                  <a:pt x="972985" y="0"/>
                  <a:pt x="2173222" y="0"/>
                </a:cubicBezTo>
                <a:cubicBezTo>
                  <a:pt x="3373459" y="0"/>
                  <a:pt x="4346444" y="972985"/>
                  <a:pt x="4346444" y="2173222"/>
                </a:cubicBezTo>
                <a:lnTo>
                  <a:pt x="4346444" y="45900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405D1E-7C07-65A2-75A2-7E9EF6B6049B}"/>
              </a:ext>
            </a:extLst>
          </p:cNvPr>
          <p:cNvSpPr/>
          <p:nvPr userDrawn="1"/>
        </p:nvSpPr>
        <p:spPr>
          <a:xfrm rot="13500000" flipH="1">
            <a:off x="11146606" y="1933863"/>
            <a:ext cx="527807" cy="2759754"/>
          </a:xfrm>
          <a:custGeom>
            <a:avLst/>
            <a:gdLst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0 w 690970"/>
              <a:gd name="connsiteY6" fmla="*/ 3612885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123701 w 690970"/>
              <a:gd name="connsiteY6" fmla="*/ 3489184 h 3612885"/>
              <a:gd name="connsiteX7" fmla="*/ 0 w 690970"/>
              <a:gd name="connsiteY7" fmla="*/ 3612885 h 3612885"/>
              <a:gd name="connsiteX0" fmla="*/ 123701 w 690970"/>
              <a:gd name="connsiteY0" fmla="*/ 3489184 h 3612885"/>
              <a:gd name="connsiteX1" fmla="*/ 0 w 690970"/>
              <a:gd name="connsiteY1" fmla="*/ 3612885 h 3612885"/>
              <a:gd name="connsiteX2" fmla="*/ 0 w 690970"/>
              <a:gd name="connsiteY2" fmla="*/ 345485 h 3612885"/>
              <a:gd name="connsiteX3" fmla="*/ 345485 w 690970"/>
              <a:gd name="connsiteY3" fmla="*/ 0 h 3612885"/>
              <a:gd name="connsiteX4" fmla="*/ 690970 w 690970"/>
              <a:gd name="connsiteY4" fmla="*/ 345485 h 3612885"/>
              <a:gd name="connsiteX5" fmla="*/ 690970 w 690970"/>
              <a:gd name="connsiteY5" fmla="*/ 2921915 h 3612885"/>
              <a:gd name="connsiteX6" fmla="*/ 572714 w 690970"/>
              <a:gd name="connsiteY6" fmla="*/ 3040171 h 3612885"/>
              <a:gd name="connsiteX7" fmla="*/ 215141 w 690970"/>
              <a:gd name="connsiteY7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572714 w 690970"/>
              <a:gd name="connsiteY5" fmla="*/ 3040171 h 3612885"/>
              <a:gd name="connsiteX6" fmla="*/ 215141 w 690970"/>
              <a:gd name="connsiteY6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  <a:gd name="connsiteX5" fmla="*/ 215141 w 690970"/>
              <a:gd name="connsiteY5" fmla="*/ 3580624 h 3612885"/>
              <a:gd name="connsiteX0" fmla="*/ 0 w 690970"/>
              <a:gd name="connsiteY0" fmla="*/ 3612885 h 3612885"/>
              <a:gd name="connsiteX1" fmla="*/ 0 w 690970"/>
              <a:gd name="connsiteY1" fmla="*/ 345485 h 3612885"/>
              <a:gd name="connsiteX2" fmla="*/ 345485 w 690970"/>
              <a:gd name="connsiteY2" fmla="*/ 0 h 3612885"/>
              <a:gd name="connsiteX3" fmla="*/ 690970 w 690970"/>
              <a:gd name="connsiteY3" fmla="*/ 345485 h 3612885"/>
              <a:gd name="connsiteX4" fmla="*/ 690970 w 690970"/>
              <a:gd name="connsiteY4" fmla="*/ 2921915 h 361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70" h="3612885">
                <a:moveTo>
                  <a:pt x="0" y="3612885"/>
                </a:moveTo>
                <a:lnTo>
                  <a:pt x="0" y="345485"/>
                </a:lnTo>
                <a:cubicBezTo>
                  <a:pt x="0" y="154679"/>
                  <a:pt x="154679" y="0"/>
                  <a:pt x="345485" y="0"/>
                </a:cubicBezTo>
                <a:cubicBezTo>
                  <a:pt x="536291" y="0"/>
                  <a:pt x="690970" y="154679"/>
                  <a:pt x="690970" y="345485"/>
                </a:cubicBezTo>
                <a:lnTo>
                  <a:pt x="690970" y="2921915"/>
                </a:lnTo>
              </a:path>
            </a:pathLst>
          </a:custGeom>
          <a:noFill/>
          <a:ln w="12700">
            <a:solidFill>
              <a:srgbClr val="2B3A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</p:spTree>
    <p:extLst>
      <p:ext uri="{BB962C8B-B14F-4D97-AF65-F5344CB8AC3E}">
        <p14:creationId xmlns:p14="http://schemas.microsoft.com/office/powerpoint/2010/main" val="157206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7711C25-1E32-D856-3159-AA194B0AE59F}"/>
              </a:ext>
            </a:extLst>
          </p:cNvPr>
          <p:cNvSpPr/>
          <p:nvPr userDrawn="1"/>
        </p:nvSpPr>
        <p:spPr>
          <a:xfrm rot="-2700000">
            <a:off x="7890787" y="-1101899"/>
            <a:ext cx="3375142" cy="3358615"/>
          </a:xfrm>
          <a:custGeom>
            <a:avLst/>
            <a:gdLst>
              <a:gd name="connsiteX0" fmla="*/ 824841 w 3375142"/>
              <a:gd name="connsiteY0" fmla="*/ 0 h 3358615"/>
              <a:gd name="connsiteX1" fmla="*/ 3375142 w 3375142"/>
              <a:gd name="connsiteY1" fmla="*/ 2550301 h 3358615"/>
              <a:gd name="connsiteX2" fmla="*/ 3375142 w 3375142"/>
              <a:gd name="connsiteY2" fmla="*/ 2834570 h 3358615"/>
              <a:gd name="connsiteX3" fmla="*/ 2851097 w 3375142"/>
              <a:gd name="connsiteY3" fmla="*/ 3358615 h 3358615"/>
              <a:gd name="connsiteX4" fmla="*/ 524045 w 3375142"/>
              <a:gd name="connsiteY4" fmla="*/ 3358615 h 3358615"/>
              <a:gd name="connsiteX5" fmla="*/ 0 w 3375142"/>
              <a:gd name="connsiteY5" fmla="*/ 2834570 h 3358615"/>
              <a:gd name="connsiteX6" fmla="*/ 0 w 3375142"/>
              <a:gd name="connsiteY6" fmla="*/ 524045 h 3358615"/>
              <a:gd name="connsiteX7" fmla="*/ 524045 w 3375142"/>
              <a:gd name="connsiteY7" fmla="*/ 0 h 3358615"/>
              <a:gd name="connsiteX0" fmla="*/ 3375142 w 3466582"/>
              <a:gd name="connsiteY0" fmla="*/ 2550301 h 3358615"/>
              <a:gd name="connsiteX1" fmla="*/ 3375142 w 3466582"/>
              <a:gd name="connsiteY1" fmla="*/ 2834570 h 3358615"/>
              <a:gd name="connsiteX2" fmla="*/ 2851097 w 3466582"/>
              <a:gd name="connsiteY2" fmla="*/ 3358615 h 3358615"/>
              <a:gd name="connsiteX3" fmla="*/ 524045 w 3466582"/>
              <a:gd name="connsiteY3" fmla="*/ 3358615 h 3358615"/>
              <a:gd name="connsiteX4" fmla="*/ 0 w 3466582"/>
              <a:gd name="connsiteY4" fmla="*/ 2834570 h 3358615"/>
              <a:gd name="connsiteX5" fmla="*/ 0 w 3466582"/>
              <a:gd name="connsiteY5" fmla="*/ 524045 h 3358615"/>
              <a:gd name="connsiteX6" fmla="*/ 524045 w 3466582"/>
              <a:gd name="connsiteY6" fmla="*/ 0 h 3358615"/>
              <a:gd name="connsiteX7" fmla="*/ 824841 w 3466582"/>
              <a:gd name="connsiteY7" fmla="*/ 0 h 3358615"/>
              <a:gd name="connsiteX8" fmla="*/ 3466582 w 3466582"/>
              <a:gd name="connsiteY8" fmla="*/ 2641741 h 3358615"/>
              <a:gd name="connsiteX0" fmla="*/ 3375142 w 3375142"/>
              <a:gd name="connsiteY0" fmla="*/ 2550301 h 3358615"/>
              <a:gd name="connsiteX1" fmla="*/ 3375142 w 3375142"/>
              <a:gd name="connsiteY1" fmla="*/ 2834570 h 3358615"/>
              <a:gd name="connsiteX2" fmla="*/ 2851097 w 3375142"/>
              <a:gd name="connsiteY2" fmla="*/ 3358615 h 3358615"/>
              <a:gd name="connsiteX3" fmla="*/ 524045 w 3375142"/>
              <a:gd name="connsiteY3" fmla="*/ 3358615 h 3358615"/>
              <a:gd name="connsiteX4" fmla="*/ 0 w 3375142"/>
              <a:gd name="connsiteY4" fmla="*/ 2834570 h 3358615"/>
              <a:gd name="connsiteX5" fmla="*/ 0 w 3375142"/>
              <a:gd name="connsiteY5" fmla="*/ 524045 h 3358615"/>
              <a:gd name="connsiteX6" fmla="*/ 524045 w 3375142"/>
              <a:gd name="connsiteY6" fmla="*/ 0 h 3358615"/>
              <a:gd name="connsiteX7" fmla="*/ 824841 w 3375142"/>
              <a:gd name="connsiteY7" fmla="*/ 0 h 3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75142" h="3358615">
                <a:moveTo>
                  <a:pt x="3375142" y="2550301"/>
                </a:moveTo>
                <a:lnTo>
                  <a:pt x="3375142" y="2834570"/>
                </a:lnTo>
                <a:cubicBezTo>
                  <a:pt x="3375142" y="3123992"/>
                  <a:pt x="3140519" y="3358615"/>
                  <a:pt x="2851097" y="3358615"/>
                </a:cubicBezTo>
                <a:lnTo>
                  <a:pt x="524045" y="3358615"/>
                </a:lnTo>
                <a:cubicBezTo>
                  <a:pt x="234623" y="3358615"/>
                  <a:pt x="0" y="3123992"/>
                  <a:pt x="0" y="2834570"/>
                </a:cubicBezTo>
                <a:lnTo>
                  <a:pt x="0" y="524045"/>
                </a:lnTo>
                <a:cubicBezTo>
                  <a:pt x="0" y="234623"/>
                  <a:pt x="234623" y="0"/>
                  <a:pt x="524045" y="0"/>
                </a:cubicBezTo>
                <a:lnTo>
                  <a:pt x="824841" y="0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9A477D-265C-9608-FDB2-0CC08A6EB248}"/>
              </a:ext>
            </a:extLst>
          </p:cNvPr>
          <p:cNvSpPr/>
          <p:nvPr userDrawn="1"/>
        </p:nvSpPr>
        <p:spPr>
          <a:xfrm rot="-2700000">
            <a:off x="8628149" y="-1411464"/>
            <a:ext cx="3721275" cy="4628377"/>
          </a:xfrm>
          <a:custGeom>
            <a:avLst/>
            <a:gdLst>
              <a:gd name="connsiteX0" fmla="*/ 823095 w 3721275"/>
              <a:gd name="connsiteY0" fmla="*/ 0 h 4628377"/>
              <a:gd name="connsiteX1" fmla="*/ 3721275 w 3721275"/>
              <a:gd name="connsiteY1" fmla="*/ 2898181 h 4628377"/>
              <a:gd name="connsiteX2" fmla="*/ 1991079 w 3721275"/>
              <a:gd name="connsiteY2" fmla="*/ 4628377 h 4628377"/>
              <a:gd name="connsiteX3" fmla="*/ 648536 w 3721275"/>
              <a:gd name="connsiteY3" fmla="*/ 4628377 h 4628377"/>
              <a:gd name="connsiteX4" fmla="*/ 0 w 3721275"/>
              <a:gd name="connsiteY4" fmla="*/ 3979841 h 4628377"/>
              <a:gd name="connsiteX5" fmla="*/ 0 w 3721275"/>
              <a:gd name="connsiteY5" fmla="*/ 648536 h 4628377"/>
              <a:gd name="connsiteX6" fmla="*/ 648536 w 3721275"/>
              <a:gd name="connsiteY6" fmla="*/ 0 h 4628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275" h="4628377">
                <a:moveTo>
                  <a:pt x="823095" y="0"/>
                </a:moveTo>
                <a:lnTo>
                  <a:pt x="3721275" y="2898181"/>
                </a:lnTo>
                <a:lnTo>
                  <a:pt x="1991079" y="4628377"/>
                </a:lnTo>
                <a:lnTo>
                  <a:pt x="648536" y="4628377"/>
                </a:lnTo>
                <a:cubicBezTo>
                  <a:pt x="290359" y="4628377"/>
                  <a:pt x="0" y="4338018"/>
                  <a:pt x="0" y="3979841"/>
                </a:cubicBezTo>
                <a:lnTo>
                  <a:pt x="0" y="648536"/>
                </a:lnTo>
                <a:cubicBezTo>
                  <a:pt x="0" y="290359"/>
                  <a:pt x="290359" y="0"/>
                  <a:pt x="6485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326933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o-Brand 2024-03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DF6C4E0C-B7EB-46A6-B6F0-C76FDCFC3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08" y="4175059"/>
            <a:ext cx="6270413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7111441-0C14-4EE9-B6C1-ED9FC63641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608" y="1918354"/>
            <a:ext cx="6270413" cy="2088828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and Can be 3 Line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13712FA-495E-465D-A2EB-8AA7E6AE5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608" y="5518464"/>
            <a:ext cx="6270413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5A4C8A-6879-7FCB-0A76-F16EBB9CEB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20" y="812800"/>
            <a:ext cx="2247900" cy="406400"/>
          </a:xfrm>
          <a:prstGeom prst="rect">
            <a:avLst/>
          </a:prstGeom>
        </p:spPr>
      </p:pic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9F0BC72C-1AD7-E7CA-ECEC-E76873446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281375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-brand and 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95383A-AB7C-A1C6-5711-CA54E3E52A6D}"/>
              </a:ext>
            </a:extLst>
          </p:cNvPr>
          <p:cNvSpPr txBox="1"/>
          <p:nvPr userDrawn="1"/>
        </p:nvSpPr>
        <p:spPr bwMode="black">
          <a:xfrm>
            <a:off x="613608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5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3076B7C-F202-996E-7DFF-5D02CB251F3F}"/>
              </a:ext>
            </a:extLst>
          </p:cNvPr>
          <p:cNvSpPr/>
          <p:nvPr userDrawn="1"/>
        </p:nvSpPr>
        <p:spPr>
          <a:xfrm rot="2700000">
            <a:off x="10287508" y="-38027"/>
            <a:ext cx="2386306" cy="3251042"/>
          </a:xfrm>
          <a:custGeom>
            <a:avLst/>
            <a:gdLst>
              <a:gd name="connsiteX0" fmla="*/ 0 w 2386306"/>
              <a:gd name="connsiteY0" fmla="*/ 573618 h 3251042"/>
              <a:gd name="connsiteX1" fmla="*/ 573618 w 2386306"/>
              <a:gd name="connsiteY1" fmla="*/ 0 h 3251042"/>
              <a:gd name="connsiteX2" fmla="*/ 2386306 w 2386306"/>
              <a:gd name="connsiteY2" fmla="*/ 1812689 h 3251042"/>
              <a:gd name="connsiteX3" fmla="*/ 2386306 w 2386306"/>
              <a:gd name="connsiteY3" fmla="*/ 2894719 h 3251042"/>
              <a:gd name="connsiteX4" fmla="*/ 2029983 w 2386306"/>
              <a:gd name="connsiteY4" fmla="*/ 3251042 h 3251042"/>
              <a:gd name="connsiteX5" fmla="*/ 356323 w 2386306"/>
              <a:gd name="connsiteY5" fmla="*/ 3251042 h 3251042"/>
              <a:gd name="connsiteX6" fmla="*/ 0 w 2386306"/>
              <a:gd name="connsiteY6" fmla="*/ 2894719 h 3251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6306" h="3251042">
                <a:moveTo>
                  <a:pt x="0" y="573618"/>
                </a:moveTo>
                <a:lnTo>
                  <a:pt x="573618" y="0"/>
                </a:lnTo>
                <a:lnTo>
                  <a:pt x="2386306" y="1812689"/>
                </a:lnTo>
                <a:lnTo>
                  <a:pt x="2386306" y="2894719"/>
                </a:lnTo>
                <a:cubicBezTo>
                  <a:pt x="2386306" y="3091511"/>
                  <a:pt x="2226775" y="3251042"/>
                  <a:pt x="2029983" y="3251042"/>
                </a:cubicBezTo>
                <a:lnTo>
                  <a:pt x="356323" y="3251042"/>
                </a:lnTo>
                <a:cubicBezTo>
                  <a:pt x="159531" y="3251042"/>
                  <a:pt x="0" y="3091511"/>
                  <a:pt x="0" y="2894719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F6A970-AE29-6F75-C4C8-B187F617CAEC}"/>
              </a:ext>
            </a:extLst>
          </p:cNvPr>
          <p:cNvSpPr/>
          <p:nvPr userDrawn="1"/>
        </p:nvSpPr>
        <p:spPr>
          <a:xfrm rot="2700000">
            <a:off x="10132011" y="1200350"/>
            <a:ext cx="2806378" cy="2807032"/>
          </a:xfrm>
          <a:custGeom>
            <a:avLst/>
            <a:gdLst>
              <a:gd name="connsiteX0" fmla="*/ 93508 w 2806378"/>
              <a:gd name="connsiteY0" fmla="*/ 93507 h 2807032"/>
              <a:gd name="connsiteX1" fmla="*/ 319254 w 2806378"/>
              <a:gd name="connsiteY1" fmla="*/ 0 h 2807032"/>
              <a:gd name="connsiteX2" fmla="*/ 928529 w 2806378"/>
              <a:gd name="connsiteY2" fmla="*/ 0 h 2807032"/>
              <a:gd name="connsiteX3" fmla="*/ 2806378 w 2806378"/>
              <a:gd name="connsiteY3" fmla="*/ 1877849 h 2807032"/>
              <a:gd name="connsiteX4" fmla="*/ 2806378 w 2806378"/>
              <a:gd name="connsiteY4" fmla="*/ 2487778 h 2807032"/>
              <a:gd name="connsiteX5" fmla="*/ 2487124 w 2806378"/>
              <a:gd name="connsiteY5" fmla="*/ 2807032 h 2807032"/>
              <a:gd name="connsiteX6" fmla="*/ 319254 w 2806378"/>
              <a:gd name="connsiteY6" fmla="*/ 2807032 h 2807032"/>
              <a:gd name="connsiteX7" fmla="*/ 0 w 2806378"/>
              <a:gd name="connsiteY7" fmla="*/ 2487778 h 2807032"/>
              <a:gd name="connsiteX8" fmla="*/ 0 w 2806378"/>
              <a:gd name="connsiteY8" fmla="*/ 319254 h 2807032"/>
              <a:gd name="connsiteX9" fmla="*/ 93508 w 2806378"/>
              <a:gd name="connsiteY9" fmla="*/ 93507 h 280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06378" h="2807032">
                <a:moveTo>
                  <a:pt x="93508" y="93507"/>
                </a:moveTo>
                <a:cubicBezTo>
                  <a:pt x="151281" y="35733"/>
                  <a:pt x="231095" y="0"/>
                  <a:pt x="319254" y="0"/>
                </a:cubicBezTo>
                <a:lnTo>
                  <a:pt x="928529" y="0"/>
                </a:lnTo>
                <a:lnTo>
                  <a:pt x="2806378" y="1877849"/>
                </a:lnTo>
                <a:lnTo>
                  <a:pt x="2806378" y="2487778"/>
                </a:lnTo>
                <a:cubicBezTo>
                  <a:pt x="2806378" y="2664097"/>
                  <a:pt x="2663443" y="2807032"/>
                  <a:pt x="2487124" y="2807032"/>
                </a:cubicBezTo>
                <a:lnTo>
                  <a:pt x="319254" y="2807032"/>
                </a:lnTo>
                <a:cubicBezTo>
                  <a:pt x="142935" y="2807032"/>
                  <a:pt x="0" y="2664097"/>
                  <a:pt x="0" y="2487778"/>
                </a:cubicBezTo>
                <a:lnTo>
                  <a:pt x="0" y="319254"/>
                </a:lnTo>
                <a:cubicBezTo>
                  <a:pt x="0" y="231094"/>
                  <a:pt x="35734" y="151281"/>
                  <a:pt x="93508" y="935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C595510-407A-9229-034C-83CA1804EAD4}"/>
              </a:ext>
            </a:extLst>
          </p:cNvPr>
          <p:cNvSpPr/>
          <p:nvPr userDrawn="1"/>
        </p:nvSpPr>
        <p:spPr>
          <a:xfrm rot="2700000">
            <a:off x="10839088" y="1250954"/>
            <a:ext cx="2705824" cy="2705824"/>
          </a:xfrm>
          <a:custGeom>
            <a:avLst/>
            <a:gdLst>
              <a:gd name="connsiteX0" fmla="*/ 0 w 2705824"/>
              <a:gd name="connsiteY0" fmla="*/ 0 h 2705824"/>
              <a:gd name="connsiteX1" fmla="*/ 2705824 w 2705824"/>
              <a:gd name="connsiteY1" fmla="*/ 2705824 h 2705824"/>
              <a:gd name="connsiteX2" fmla="*/ 306766 w 2705824"/>
              <a:gd name="connsiteY2" fmla="*/ 2705824 h 2705824"/>
              <a:gd name="connsiteX3" fmla="*/ 0 w 2705824"/>
              <a:gd name="connsiteY3" fmla="*/ 2399058 h 2705824"/>
              <a:gd name="connsiteX0" fmla="*/ 2705824 w 2797264"/>
              <a:gd name="connsiteY0" fmla="*/ 2705824 h 2797264"/>
              <a:gd name="connsiteX1" fmla="*/ 306766 w 2797264"/>
              <a:gd name="connsiteY1" fmla="*/ 2705824 h 2797264"/>
              <a:gd name="connsiteX2" fmla="*/ 0 w 2797264"/>
              <a:gd name="connsiteY2" fmla="*/ 2399058 h 2797264"/>
              <a:gd name="connsiteX3" fmla="*/ 0 w 2797264"/>
              <a:gd name="connsiteY3" fmla="*/ 0 h 2797264"/>
              <a:gd name="connsiteX4" fmla="*/ 2797264 w 2797264"/>
              <a:gd name="connsiteY4" fmla="*/ 2797264 h 2797264"/>
              <a:gd name="connsiteX0" fmla="*/ 2705824 w 2705824"/>
              <a:gd name="connsiteY0" fmla="*/ 2705824 h 2705824"/>
              <a:gd name="connsiteX1" fmla="*/ 306766 w 2705824"/>
              <a:gd name="connsiteY1" fmla="*/ 2705824 h 2705824"/>
              <a:gd name="connsiteX2" fmla="*/ 0 w 2705824"/>
              <a:gd name="connsiteY2" fmla="*/ 2399058 h 2705824"/>
              <a:gd name="connsiteX3" fmla="*/ 0 w 2705824"/>
              <a:gd name="connsiteY3" fmla="*/ 0 h 2705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5824" h="2705824">
                <a:moveTo>
                  <a:pt x="2705824" y="2705824"/>
                </a:moveTo>
                <a:lnTo>
                  <a:pt x="306766" y="2705824"/>
                </a:lnTo>
                <a:cubicBezTo>
                  <a:pt x="137344" y="2705824"/>
                  <a:pt x="0" y="2568480"/>
                  <a:pt x="0" y="23990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rgbClr val="0CE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l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6957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6096000" y="6858000"/>
            <a:ext cx="6096001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3.0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8ADA47BD-E4A5-7845-BFB3-F0B0FFBC057C}"/>
              </a:ext>
            </a:extLst>
          </p:cNvPr>
          <p:cNvGrpSpPr/>
          <p:nvPr userDrawn="1"/>
        </p:nvGrpSpPr>
        <p:grpSpPr>
          <a:xfrm>
            <a:off x="12308083" y="0"/>
            <a:ext cx="851744" cy="3915867"/>
            <a:chOff x="5958724" y="2146789"/>
            <a:chExt cx="851744" cy="3915867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46DD2B6-4144-9C44-8392-9127F5DADBD1}"/>
                </a:ext>
              </a:extLst>
            </p:cNvPr>
            <p:cNvSpPr/>
            <p:nvPr/>
          </p:nvSpPr>
          <p:spPr bwMode="gray">
            <a:xfrm>
              <a:off x="5958724" y="4367503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BE2A7EF-3365-0441-9D19-475B521B2290}"/>
                </a:ext>
              </a:extLst>
            </p:cNvPr>
            <p:cNvSpPr/>
            <p:nvPr/>
          </p:nvSpPr>
          <p:spPr bwMode="gray">
            <a:xfrm>
              <a:off x="6401764" y="4367503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5E57586-5BBB-444A-AF8C-B41739BFA68E}"/>
                </a:ext>
              </a:extLst>
            </p:cNvPr>
            <p:cNvSpPr/>
            <p:nvPr/>
          </p:nvSpPr>
          <p:spPr bwMode="gray">
            <a:xfrm>
              <a:off x="6623283" y="4367503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900B15B-0301-9442-BA29-DAF74AC2ED47}"/>
                </a:ext>
              </a:extLst>
            </p:cNvPr>
            <p:cNvSpPr/>
            <p:nvPr/>
          </p:nvSpPr>
          <p:spPr bwMode="gray">
            <a:xfrm>
              <a:off x="6180244" y="4367503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D901AD7-A1AE-D147-9240-470D94A80732}"/>
                </a:ext>
              </a:extLst>
            </p:cNvPr>
            <p:cNvSpPr/>
            <p:nvPr/>
          </p:nvSpPr>
          <p:spPr bwMode="gray">
            <a:xfrm>
              <a:off x="5958724" y="5230398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7BE91BB9-CB37-5644-9D3E-65E05DA24DFB}"/>
                </a:ext>
              </a:extLst>
            </p:cNvPr>
            <p:cNvSpPr/>
            <p:nvPr/>
          </p:nvSpPr>
          <p:spPr bwMode="gray">
            <a:xfrm>
              <a:off x="6180244" y="5230398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EF40564E-4C5B-F540-BCD2-987DECECBC4B}"/>
                </a:ext>
              </a:extLst>
            </p:cNvPr>
            <p:cNvSpPr/>
            <p:nvPr/>
          </p:nvSpPr>
          <p:spPr bwMode="gray">
            <a:xfrm>
              <a:off x="6401764" y="5230398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0B69A35-7556-7E46-B4BF-B9A458A4FC9C}"/>
                </a:ext>
              </a:extLst>
            </p:cNvPr>
            <p:cNvSpPr/>
            <p:nvPr/>
          </p:nvSpPr>
          <p:spPr bwMode="gray">
            <a:xfrm>
              <a:off x="6623284" y="5230398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F396C095-9B66-F444-862E-DE666BC5DC9E}"/>
                </a:ext>
              </a:extLst>
            </p:cNvPr>
            <p:cNvSpPr txBox="1"/>
            <p:nvPr/>
          </p:nvSpPr>
          <p:spPr>
            <a:xfrm>
              <a:off x="5958724" y="2146789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80FE3E9-3530-C64D-B638-EC4604BABA48}"/>
                </a:ext>
              </a:extLst>
            </p:cNvPr>
            <p:cNvSpPr/>
            <p:nvPr/>
          </p:nvSpPr>
          <p:spPr bwMode="gray">
            <a:xfrm>
              <a:off x="5958724" y="5875472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25FA0A73-ADED-6F42-9167-2CF5F6F9E90A}"/>
                </a:ext>
              </a:extLst>
            </p:cNvPr>
            <p:cNvSpPr/>
            <p:nvPr/>
          </p:nvSpPr>
          <p:spPr bwMode="gray">
            <a:xfrm>
              <a:off x="5958724" y="5019103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AE835229-8F21-9A48-BD16-620E2017B79C}"/>
                </a:ext>
              </a:extLst>
            </p:cNvPr>
            <p:cNvSpPr/>
            <p:nvPr/>
          </p:nvSpPr>
          <p:spPr bwMode="gray">
            <a:xfrm>
              <a:off x="6180244" y="5019103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AF336C-0CDF-0A49-A8D2-0BA6C083EEAF}"/>
                </a:ext>
              </a:extLst>
            </p:cNvPr>
            <p:cNvSpPr/>
            <p:nvPr/>
          </p:nvSpPr>
          <p:spPr bwMode="gray">
            <a:xfrm>
              <a:off x="6401764" y="5019103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01A576D-7D44-DA4B-8DCF-7D091109B952}"/>
                </a:ext>
              </a:extLst>
            </p:cNvPr>
            <p:cNvSpPr/>
            <p:nvPr/>
          </p:nvSpPr>
          <p:spPr bwMode="gray">
            <a:xfrm>
              <a:off x="6623284" y="5019103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5CE1B164-8B08-1A46-8990-C0E66043BE64}"/>
                </a:ext>
              </a:extLst>
            </p:cNvPr>
            <p:cNvSpPr/>
            <p:nvPr/>
          </p:nvSpPr>
          <p:spPr bwMode="gray">
            <a:xfrm>
              <a:off x="5958724" y="5448992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FABDCF59-39B4-D741-804B-DA8E5356DEE0}"/>
                </a:ext>
              </a:extLst>
            </p:cNvPr>
            <p:cNvSpPr/>
            <p:nvPr/>
          </p:nvSpPr>
          <p:spPr bwMode="gray">
            <a:xfrm>
              <a:off x="6180244" y="2343732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51FF5A3B-DFB1-5F43-A2EF-04D81F0CA37E}"/>
                </a:ext>
              </a:extLst>
            </p:cNvPr>
            <p:cNvSpPr/>
            <p:nvPr/>
          </p:nvSpPr>
          <p:spPr bwMode="gray">
            <a:xfrm>
              <a:off x="6180244" y="2565037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8595AD6-FC65-BD4F-A0A3-C9735B09BF97}"/>
                </a:ext>
              </a:extLst>
            </p:cNvPr>
            <p:cNvSpPr/>
            <p:nvPr/>
          </p:nvSpPr>
          <p:spPr bwMode="gray">
            <a:xfrm>
              <a:off x="6401763" y="2343732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C2D4C9F2-E663-FE4E-91B5-486C3221C4FF}"/>
                </a:ext>
              </a:extLst>
            </p:cNvPr>
            <p:cNvSpPr/>
            <p:nvPr/>
          </p:nvSpPr>
          <p:spPr bwMode="gray">
            <a:xfrm>
              <a:off x="6401763" y="2565037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E87748B-6503-C94A-A0A5-ECF75744DC53}"/>
                </a:ext>
              </a:extLst>
            </p:cNvPr>
            <p:cNvSpPr/>
            <p:nvPr/>
          </p:nvSpPr>
          <p:spPr bwMode="gray">
            <a:xfrm>
              <a:off x="6623283" y="2343732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18F062A5-65F4-EC4E-99C6-45D7627564E3}"/>
                </a:ext>
              </a:extLst>
            </p:cNvPr>
            <p:cNvSpPr/>
            <p:nvPr/>
          </p:nvSpPr>
          <p:spPr bwMode="gray">
            <a:xfrm>
              <a:off x="6623283" y="2565037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3C6FF5B6-5DBB-B04F-B902-B9A93A757215}"/>
                </a:ext>
              </a:extLst>
            </p:cNvPr>
            <p:cNvSpPr/>
            <p:nvPr/>
          </p:nvSpPr>
          <p:spPr bwMode="gray">
            <a:xfrm>
              <a:off x="5958724" y="3700925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2008AA1-3AD4-1E4C-B34C-1BAB347F3885}"/>
                </a:ext>
              </a:extLst>
            </p:cNvPr>
            <p:cNvSpPr/>
            <p:nvPr/>
          </p:nvSpPr>
          <p:spPr bwMode="gray">
            <a:xfrm>
              <a:off x="6180244" y="4583145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782FB-236F-3E4E-B840-8903CA2A46D6}"/>
                </a:ext>
              </a:extLst>
            </p:cNvPr>
            <p:cNvSpPr/>
            <p:nvPr/>
          </p:nvSpPr>
          <p:spPr bwMode="gray">
            <a:xfrm>
              <a:off x="6401763" y="4583145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99C6C7E8-E1A5-D848-873A-234390B695A6}"/>
                </a:ext>
              </a:extLst>
            </p:cNvPr>
            <p:cNvSpPr/>
            <p:nvPr/>
          </p:nvSpPr>
          <p:spPr bwMode="gray">
            <a:xfrm>
              <a:off x="6623283" y="4583145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7BC28099-48BB-8E4A-9E3A-F5749D3F9E0A}"/>
                </a:ext>
              </a:extLst>
            </p:cNvPr>
            <p:cNvSpPr/>
            <p:nvPr/>
          </p:nvSpPr>
          <p:spPr bwMode="gray">
            <a:xfrm>
              <a:off x="5958724" y="2566491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63E571ED-E3FF-5845-A5E1-0018A8108B4A}"/>
                </a:ext>
              </a:extLst>
            </p:cNvPr>
            <p:cNvSpPr/>
            <p:nvPr/>
          </p:nvSpPr>
          <p:spPr bwMode="gray">
            <a:xfrm>
              <a:off x="6180244" y="4804513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6B6BB2FF-AD78-0C41-B253-007FB067303C}"/>
                </a:ext>
              </a:extLst>
            </p:cNvPr>
            <p:cNvSpPr/>
            <p:nvPr/>
          </p:nvSpPr>
          <p:spPr bwMode="gray">
            <a:xfrm>
              <a:off x="6401763" y="4804513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2D84D15-FC10-8449-A8DF-0693CC5AD3C8}"/>
                </a:ext>
              </a:extLst>
            </p:cNvPr>
            <p:cNvSpPr/>
            <p:nvPr/>
          </p:nvSpPr>
          <p:spPr bwMode="gray">
            <a:xfrm>
              <a:off x="6623283" y="4804513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412DE59-4F68-1A4F-81B2-F45A075CF184}"/>
                </a:ext>
              </a:extLst>
            </p:cNvPr>
            <p:cNvSpPr/>
            <p:nvPr/>
          </p:nvSpPr>
          <p:spPr bwMode="gray">
            <a:xfrm>
              <a:off x="5958724" y="2343732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91C1BDA-5D81-794C-B1A7-67CC9CE1EE1E}"/>
                </a:ext>
              </a:extLst>
            </p:cNvPr>
            <p:cNvSpPr/>
            <p:nvPr/>
          </p:nvSpPr>
          <p:spPr bwMode="gray">
            <a:xfrm>
              <a:off x="6180244" y="3017653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E26E8257-987A-C249-A28B-F90461918BC4}"/>
                </a:ext>
              </a:extLst>
            </p:cNvPr>
            <p:cNvSpPr/>
            <p:nvPr/>
          </p:nvSpPr>
          <p:spPr bwMode="gray">
            <a:xfrm>
              <a:off x="6401763" y="3017653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9C325A48-0CB1-104E-BA30-9A71DD6D61AB}"/>
                </a:ext>
              </a:extLst>
            </p:cNvPr>
            <p:cNvSpPr/>
            <p:nvPr/>
          </p:nvSpPr>
          <p:spPr bwMode="gray">
            <a:xfrm>
              <a:off x="6623283" y="3017653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2A36493E-9946-3341-A680-94F587D7EB67}"/>
                </a:ext>
              </a:extLst>
            </p:cNvPr>
            <p:cNvSpPr/>
            <p:nvPr/>
          </p:nvSpPr>
          <p:spPr bwMode="gray">
            <a:xfrm>
              <a:off x="5958724" y="4584599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F65DD10B-52F6-9841-91B3-81394F672A9F}"/>
                </a:ext>
              </a:extLst>
            </p:cNvPr>
            <p:cNvSpPr/>
            <p:nvPr/>
          </p:nvSpPr>
          <p:spPr bwMode="gray">
            <a:xfrm>
              <a:off x="5958724" y="4804513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96B5B61B-C053-424B-AAFB-3CAEB0DDF986}"/>
                </a:ext>
              </a:extLst>
            </p:cNvPr>
            <p:cNvSpPr/>
            <p:nvPr/>
          </p:nvSpPr>
          <p:spPr bwMode="gray">
            <a:xfrm>
              <a:off x="5958724" y="3020561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9EA6558-DD3B-7A4C-91B0-97252C1832CF}"/>
                </a:ext>
              </a:extLst>
            </p:cNvPr>
            <p:cNvSpPr/>
            <p:nvPr/>
          </p:nvSpPr>
          <p:spPr bwMode="gray">
            <a:xfrm>
              <a:off x="5958724" y="3922293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E34F6D7E-6CD3-7B49-9F1D-6D78AACEFF91}"/>
                </a:ext>
              </a:extLst>
            </p:cNvPr>
            <p:cNvSpPr/>
            <p:nvPr/>
          </p:nvSpPr>
          <p:spPr bwMode="gray">
            <a:xfrm>
              <a:off x="6180244" y="3922293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BF821065-02C2-EF4B-9F9C-E2A91FD8F316}"/>
                </a:ext>
              </a:extLst>
            </p:cNvPr>
            <p:cNvSpPr/>
            <p:nvPr/>
          </p:nvSpPr>
          <p:spPr bwMode="gray">
            <a:xfrm>
              <a:off x="6180244" y="3700925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91976CC-682F-9849-BB70-F87EC81993D2}"/>
                </a:ext>
              </a:extLst>
            </p:cNvPr>
            <p:cNvSpPr/>
            <p:nvPr/>
          </p:nvSpPr>
          <p:spPr bwMode="gray">
            <a:xfrm>
              <a:off x="6401763" y="3922293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D79483A8-0232-0548-BBDE-CAC5A5717E5B}"/>
                </a:ext>
              </a:extLst>
            </p:cNvPr>
            <p:cNvSpPr/>
            <p:nvPr/>
          </p:nvSpPr>
          <p:spPr bwMode="gray">
            <a:xfrm>
              <a:off x="6401763" y="3700925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6B89722E-49F3-144D-AC2D-0950AC3ACF7F}"/>
                </a:ext>
              </a:extLst>
            </p:cNvPr>
            <p:cNvSpPr/>
            <p:nvPr/>
          </p:nvSpPr>
          <p:spPr bwMode="gray">
            <a:xfrm>
              <a:off x="6623283" y="3922293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ACF64A98-8F5F-364E-9BF7-4F76EBB2E875}"/>
                </a:ext>
              </a:extLst>
            </p:cNvPr>
            <p:cNvSpPr/>
            <p:nvPr/>
          </p:nvSpPr>
          <p:spPr bwMode="gray">
            <a:xfrm>
              <a:off x="6623283" y="3700925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D56737-D7FA-9241-BF90-CDAA19D3F175}"/>
                </a:ext>
              </a:extLst>
            </p:cNvPr>
            <p:cNvSpPr/>
            <p:nvPr/>
          </p:nvSpPr>
          <p:spPr bwMode="gray">
            <a:xfrm>
              <a:off x="5958724" y="2792710"/>
              <a:ext cx="187184" cy="187184"/>
            </a:xfrm>
            <a:prstGeom prst="rect">
              <a:avLst/>
            </a:prstGeom>
            <a:solidFill>
              <a:srgbClr val="00CC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825342-AAFF-0E4E-A60C-2B8AB690F64E}"/>
                </a:ext>
              </a:extLst>
            </p:cNvPr>
            <p:cNvSpPr txBox="1"/>
            <p:nvPr/>
          </p:nvSpPr>
          <p:spPr>
            <a:xfrm>
              <a:off x="6179531" y="2792515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Blue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63016A2-866B-6740-A2DD-BA0BFCC950F7}"/>
                </a:ext>
              </a:extLst>
            </p:cNvPr>
            <p:cNvSpPr txBox="1"/>
            <p:nvPr/>
          </p:nvSpPr>
          <p:spPr>
            <a:xfrm>
              <a:off x="6180244" y="5875802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5% Charcoal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FE6951A-1135-BF4C-8E4A-27E4A4579C3B}"/>
                </a:ext>
              </a:extLst>
            </p:cNvPr>
            <p:cNvSpPr/>
            <p:nvPr/>
          </p:nvSpPr>
          <p:spPr bwMode="gray">
            <a:xfrm>
              <a:off x="5958724" y="5662447"/>
              <a:ext cx="187184" cy="187184"/>
            </a:xfrm>
            <a:prstGeom prst="rect">
              <a:avLst/>
            </a:prstGeom>
            <a:solidFill>
              <a:srgbClr val="140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72B3BE3E-8803-DD42-B96E-2D6A35B5C8FE}"/>
                </a:ext>
              </a:extLst>
            </p:cNvPr>
            <p:cNvSpPr txBox="1"/>
            <p:nvPr/>
          </p:nvSpPr>
          <p:spPr>
            <a:xfrm>
              <a:off x="6180244" y="5662777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/>
                <a:t>Indigo</a:t>
              </a:r>
              <a:endParaRPr lang="en-US" sz="600" dirty="0">
                <a:solidFill>
                  <a:schemeClr val="tx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307F021-E250-BC44-A156-97E93EFBD041}"/>
                </a:ext>
              </a:extLst>
            </p:cNvPr>
            <p:cNvSpPr txBox="1"/>
            <p:nvPr/>
          </p:nvSpPr>
          <p:spPr>
            <a:xfrm>
              <a:off x="6180244" y="5451924"/>
              <a:ext cx="630223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Red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D6E8F370-88B7-B143-BECC-56B2696E26F2}"/>
                </a:ext>
              </a:extLst>
            </p:cNvPr>
            <p:cNvSpPr/>
            <p:nvPr/>
          </p:nvSpPr>
          <p:spPr bwMode="gray">
            <a:xfrm>
              <a:off x="6180244" y="3246253"/>
              <a:ext cx="187184" cy="187184"/>
            </a:xfrm>
            <a:prstGeom prst="rect">
              <a:avLst/>
            </a:prstGeom>
            <a:solidFill>
              <a:srgbClr val="80C7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777473D-86CB-DC41-A591-538A0820099A}"/>
                </a:ext>
              </a:extLst>
            </p:cNvPr>
            <p:cNvSpPr/>
            <p:nvPr/>
          </p:nvSpPr>
          <p:spPr bwMode="gray">
            <a:xfrm>
              <a:off x="6401763" y="3246253"/>
              <a:ext cx="187184" cy="187184"/>
            </a:xfrm>
            <a:prstGeom prst="rect">
              <a:avLst/>
            </a:prstGeom>
            <a:solidFill>
              <a:srgbClr val="40A4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989B0485-B1FD-0E46-998C-70BF14846660}"/>
                </a:ext>
              </a:extLst>
            </p:cNvPr>
            <p:cNvSpPr/>
            <p:nvPr/>
          </p:nvSpPr>
          <p:spPr bwMode="gray">
            <a:xfrm>
              <a:off x="6623283" y="3246253"/>
              <a:ext cx="187184" cy="187184"/>
            </a:xfrm>
            <a:prstGeom prst="rect">
              <a:avLst/>
            </a:prstGeom>
            <a:solidFill>
              <a:srgbClr val="CCE9E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3488BCE-878D-4A43-AA90-4912A715E8BD}"/>
                </a:ext>
              </a:extLst>
            </p:cNvPr>
            <p:cNvSpPr/>
            <p:nvPr/>
          </p:nvSpPr>
          <p:spPr bwMode="gray">
            <a:xfrm>
              <a:off x="5958724" y="3249161"/>
              <a:ext cx="187184" cy="187184"/>
            </a:xfrm>
            <a:prstGeom prst="rect">
              <a:avLst/>
            </a:prstGeom>
            <a:solidFill>
              <a:srgbClr val="00867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AB8F119-F5FE-2149-92FB-75F8830718E6}"/>
                </a:ext>
              </a:extLst>
            </p:cNvPr>
            <p:cNvSpPr/>
            <p:nvPr/>
          </p:nvSpPr>
          <p:spPr bwMode="gray">
            <a:xfrm>
              <a:off x="5958724" y="3472953"/>
              <a:ext cx="187184" cy="187184"/>
            </a:xfrm>
            <a:prstGeom prst="rect">
              <a:avLst/>
            </a:prstGeom>
            <a:solidFill>
              <a:srgbClr val="0CEF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4276137-38CE-CE41-8278-45DD99244B1A}"/>
                </a:ext>
              </a:extLst>
            </p:cNvPr>
            <p:cNvSpPr txBox="1"/>
            <p:nvPr/>
          </p:nvSpPr>
          <p:spPr>
            <a:xfrm>
              <a:off x="6179531" y="347275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Teal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32FDF16C-E3D9-5A43-B4BA-A2D0BD2547E2}"/>
                </a:ext>
              </a:extLst>
            </p:cNvPr>
            <p:cNvSpPr/>
            <p:nvPr/>
          </p:nvSpPr>
          <p:spPr bwMode="gray">
            <a:xfrm>
              <a:off x="5958724" y="4147323"/>
              <a:ext cx="187184" cy="187184"/>
            </a:xfrm>
            <a:prstGeom prst="rect">
              <a:avLst/>
            </a:prstGeom>
            <a:solidFill>
              <a:srgbClr val="79D85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AF546EF-4A91-2643-AD8A-13B35443E7F5}"/>
                </a:ext>
              </a:extLst>
            </p:cNvPr>
            <p:cNvSpPr txBox="1"/>
            <p:nvPr/>
          </p:nvSpPr>
          <p:spPr>
            <a:xfrm>
              <a:off x="6179531" y="4147128"/>
              <a:ext cx="630936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00" dirty="0">
                  <a:solidFill>
                    <a:schemeClr val="tx1"/>
                  </a:solidFill>
                </a:rPr>
                <a:t>Bright G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9" r:id="rId5"/>
    <p:sldLayoutId id="2147484280" r:id="rId6"/>
    <p:sldLayoutId id="2147484288" r:id="rId7"/>
    <p:sldLayoutId id="2147484289" r:id="rId8"/>
    <p:sldLayoutId id="2147484290" r:id="rId9"/>
    <p:sldLayoutId id="2147484291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81" r:id="rId28"/>
    <p:sldLayoutId id="2147484282" r:id="rId29"/>
    <p:sldLayoutId id="2147484283" r:id="rId30"/>
    <p:sldLayoutId id="2147484284" r:id="rId31"/>
    <p:sldLayoutId id="2147484285" r:id="rId32"/>
    <p:sldLayoutId id="2147484286" r:id="rId33"/>
    <p:sldLayoutId id="214748428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C5644-711A-25EC-9948-82810157AC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3607" y="346509"/>
            <a:ext cx="6980725" cy="2336431"/>
          </a:xfrm>
        </p:spPr>
        <p:txBody>
          <a:bodyPr/>
          <a:lstStyle/>
          <a:p>
            <a:r>
              <a:rPr lang="en-US" b="0" i="0" dirty="0">
                <a:solidFill>
                  <a:schemeClr val="tx1">
                    <a:lumMod val="20000"/>
                    <a:lumOff val="80000"/>
                  </a:schemeClr>
                </a:solidFill>
                <a:effectLst/>
                <a:latin typeface="Segoe UI" panose="020B0502040204020203" pitchFamily="34" charset="0"/>
              </a:rPr>
              <a:t>ReactJS Application for Chatbot</a:t>
            </a:r>
            <a:endParaRPr lang="en-US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8B7218-A6B8-C2AD-C0AF-80A762D3B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607" y="4575189"/>
            <a:ext cx="7298359" cy="949712"/>
          </a:xfrm>
        </p:spPr>
        <p:txBody>
          <a:bodyPr/>
          <a:lstStyle/>
          <a:p>
            <a:r>
              <a:rPr lang="en-US" sz="2000" dirty="0"/>
              <a:t>PREPARED BY:</a:t>
            </a:r>
          </a:p>
          <a:p>
            <a:r>
              <a:rPr lang="en-US" sz="2000" dirty="0"/>
              <a:t>TONY VARGHESE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829B92-247B-2C01-77D2-9DC25E1EDA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607" y="2156059"/>
            <a:ext cx="7529365" cy="388860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b="1" dirty="0"/>
              <a:t>Objective </a:t>
            </a:r>
            <a:r>
              <a:rPr lang="en-US" sz="2000" dirty="0"/>
              <a:t>: To develop a chatbot interface that allows users t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List and select cl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Select modules for response gener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Display responses in a tabular format with pagina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/>
              <a:t>Scope</a:t>
            </a:r>
            <a:r>
              <a:rPr lang="en-US" sz="2000" dirty="0"/>
              <a:t>:</a:t>
            </a:r>
          </a:p>
          <a:p>
            <a:pPr lvl="1"/>
            <a:r>
              <a:rPr lang="en-US" sz="2000" dirty="0"/>
              <a:t>Provide an interactive, user-friendly frontend using ReactJS.</a:t>
            </a:r>
          </a:p>
          <a:p>
            <a:pPr lvl="1"/>
            <a:r>
              <a:rPr lang="en-US" sz="2000" dirty="0"/>
              <a:t>Ensure robust backend functionality using </a:t>
            </a:r>
            <a:r>
              <a:rPr lang="en-US" sz="2000" dirty="0" err="1"/>
              <a:t>FastAPI</a:t>
            </a:r>
            <a:r>
              <a:rPr lang="en-US" sz="20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E8E336-6D48-2C77-F35A-63BD4F809B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3607" y="0"/>
            <a:ext cx="6245751" cy="2084832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63971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FD3DD0-DD9E-ECB2-52D2-478C0FFF63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0985" y="1487140"/>
            <a:ext cx="6245751" cy="769098"/>
          </a:xfrm>
        </p:spPr>
        <p:txBody>
          <a:bodyPr/>
          <a:lstStyle/>
          <a:p>
            <a:r>
              <a:rPr lang="en-US" dirty="0"/>
              <a:t>Key Featur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E6B13F5-8906-A691-6B21-BBCAA7B9CDE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713DA04-0010-0914-AEFA-B44B9B6001D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13608" y="2256238"/>
            <a:ext cx="6845970" cy="2834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List down the main features of the application:</a:t>
            </a:r>
          </a:p>
          <a:p>
            <a:pPr lvl="1"/>
            <a:r>
              <a:rPr lang="en-US" sz="2000" dirty="0"/>
              <a:t>Client Selection (e.g., Amgen, GSK).</a:t>
            </a:r>
          </a:p>
          <a:p>
            <a:pPr lvl="1"/>
            <a:r>
              <a:rPr lang="en-US" sz="2000" dirty="0"/>
              <a:t>Module Selection (e.g., Customer, Medicaid, T-Bill Rates).</a:t>
            </a:r>
          </a:p>
          <a:p>
            <a:pPr lvl="1"/>
            <a:r>
              <a:rPr lang="en-US" sz="2000" dirty="0"/>
              <a:t>Response Generation in a Tabular Format:</a:t>
            </a:r>
          </a:p>
          <a:p>
            <a:pPr marL="1200150" lvl="2" indent="-285750"/>
            <a:r>
              <a:rPr lang="en-US" sz="1600" dirty="0"/>
              <a:t>Includes fields: Process Area, Requirement ID, Requirement Description.</a:t>
            </a:r>
          </a:p>
          <a:p>
            <a:pPr marL="1200150" lvl="2" indent="-285750"/>
            <a:r>
              <a:rPr lang="en-US" sz="1600" dirty="0"/>
              <a:t>Pagination for easy navigation.</a:t>
            </a:r>
          </a:p>
          <a:p>
            <a:pPr lvl="1"/>
            <a:r>
              <a:rPr lang="en-US" sz="2000" dirty="0"/>
              <a:t>API integration between ReactJS and </a:t>
            </a:r>
            <a:r>
              <a:rPr lang="en-US" sz="2000" dirty="0" err="1"/>
              <a:t>FastAPI</a:t>
            </a:r>
            <a:r>
              <a:rPr lang="en-US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654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4270BA-67C5-A10D-54C7-38CA1AC538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355" y="1422078"/>
            <a:ext cx="6245751" cy="574186"/>
          </a:xfrm>
        </p:spPr>
        <p:txBody>
          <a:bodyPr/>
          <a:lstStyle/>
          <a:p>
            <a:r>
              <a:rPr lang="en-US" dirty="0"/>
              <a:t>Technology Stack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3FCF604-8275-BB11-8661-C1BB79023C5F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17355" y="1880584"/>
            <a:ext cx="5985934" cy="3306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Frontend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ReactJS, React Bootstrap, HTML, CS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Backend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astAPI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base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</a:t>
            </a: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ySQL 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/>
              <a:t>Tools</a:t>
            </a:r>
            <a:r>
              <a:rPr lang="en-US" sz="2000" dirty="0"/>
              <a:t>:</a:t>
            </a:r>
          </a:p>
          <a:p>
            <a:pPr lvl="1"/>
            <a:r>
              <a:rPr lang="en-US" sz="2000" dirty="0"/>
              <a:t>Git (Version Control)</a:t>
            </a:r>
          </a:p>
          <a:p>
            <a:pPr lvl="1"/>
            <a:r>
              <a:rPr lang="en-US" sz="2000" dirty="0"/>
              <a:t>Postman (API Testing)</a:t>
            </a:r>
          </a:p>
          <a:p>
            <a:pPr lvl="1"/>
            <a:r>
              <a:rPr lang="en-US" sz="2000" dirty="0"/>
              <a:t>Swagger (API Documentation)</a:t>
            </a:r>
          </a:p>
          <a:p>
            <a:pPr lvl="1"/>
            <a:r>
              <a:rPr lang="en-US" sz="2000" dirty="0"/>
              <a:t>GitHub (Code Repository)</a:t>
            </a:r>
          </a:p>
          <a:p>
            <a:pPr lvl="1"/>
            <a:r>
              <a:rPr lang="en-US" sz="2000" dirty="0"/>
              <a:t>VS Code (IDE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45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D50AE8-010B-C65E-7C3E-202CE7213F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183EFD20-30D1-D939-03D6-C1D6958FE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04" y="0"/>
            <a:ext cx="120868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5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539D5A-5F1A-FF83-EC2F-DCE6CFBDC3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i="1" dirty="0">
                <a:latin typeface="Poor Richard" panose="02080502050505020702" pitchFamily="18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1775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3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Corporate PowerPoint Template" id="{FBF47825-BA15-42F8-B8DD-474EE679720A}" vid="{51500039-90C3-4EE0-82E8-5B46344F180D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cdb53e7-c01f-45c8-a340-7cd314879d0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D576562B9B644CAAFF3F31DAA70767" ma:contentTypeVersion="11" ma:contentTypeDescription="Create a new document." ma:contentTypeScope="" ma:versionID="ab15d028d58a8683dcc25a535c0bfbf2">
  <xsd:schema xmlns:xsd="http://www.w3.org/2001/XMLSchema" xmlns:xs="http://www.w3.org/2001/XMLSchema" xmlns:p="http://schemas.microsoft.com/office/2006/metadata/properties" xmlns:ns3="0cdb53e7-c01f-45c8-a340-7cd314879d07" targetNamespace="http://schemas.microsoft.com/office/2006/metadata/properties" ma:root="true" ma:fieldsID="1218d63cad49aa5f9c3f5118ea4600b0" ns3:_="">
    <xsd:import namespace="0cdb53e7-c01f-45c8-a340-7cd314879d07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db53e7-c01f-45c8-a340-7cd314879d07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9809F8-82D8-4B57-82E0-84930FFD15AE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0cdb53e7-c01f-45c8-a340-7cd314879d07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222C1E2-01F5-4567-8B04-5EF4EEEA9F7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0EF220-3B40-42D3-9446-C2F990973B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db53e7-c01f-45c8-a340-7cd314879d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22</TotalTime>
  <Words>175</Words>
  <Application>Microsoft Office PowerPoint</Application>
  <PresentationFormat>Widescreen</PresentationFormat>
  <Paragraphs>3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Arial Narrow</vt:lpstr>
      <vt:lpstr>Georgia</vt:lpstr>
      <vt:lpstr>Poor Richard</vt:lpstr>
      <vt:lpstr>Segoe UI</vt:lpstr>
      <vt:lpstr>System Font Regular</vt:lpstr>
      <vt:lpstr>Wingdings</vt:lpstr>
      <vt:lpstr>IQVIA_V3.0.0</vt:lpstr>
      <vt:lpstr>think-cell Slide</vt:lpstr>
      <vt:lpstr>ReactJS Application for Chatbot</vt:lpstr>
      <vt:lpstr>INTRODUCTION</vt:lpstr>
      <vt:lpstr>Key Features</vt:lpstr>
      <vt:lpstr>Technology Stack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JS Application for Chatbot</dc:title>
  <dc:creator>Varghese, Tony EX1</dc:creator>
  <cp:lastModifiedBy>Varghese, Tony EX1</cp:lastModifiedBy>
  <cp:revision>2</cp:revision>
  <cp:lastPrinted>2019-08-20T20:33:24Z</cp:lastPrinted>
  <dcterms:created xsi:type="dcterms:W3CDTF">2025-01-09T10:59:22Z</dcterms:created>
  <dcterms:modified xsi:type="dcterms:W3CDTF">2025-01-13T08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D576562B9B644CAAFF3F31DAA70767</vt:lpwstr>
  </property>
</Properties>
</file>